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00" r:id="rId5"/>
  </p:sldMasterIdLst>
  <p:notesMasterIdLst>
    <p:notesMasterId r:id="rId42"/>
  </p:notesMasterIdLst>
  <p:sldIdLst>
    <p:sldId id="335" r:id="rId6"/>
    <p:sldId id="2147376943" r:id="rId7"/>
    <p:sldId id="2147376945" r:id="rId8"/>
    <p:sldId id="2147376944" r:id="rId9"/>
    <p:sldId id="2147377006" r:id="rId10"/>
    <p:sldId id="2147377008" r:id="rId11"/>
    <p:sldId id="2147377001" r:id="rId12"/>
    <p:sldId id="2147376969" r:id="rId13"/>
    <p:sldId id="2147376959" r:id="rId14"/>
    <p:sldId id="2147377022" r:id="rId15"/>
    <p:sldId id="2147377024" r:id="rId16"/>
    <p:sldId id="2147376991" r:id="rId17"/>
    <p:sldId id="2147376994" r:id="rId18"/>
    <p:sldId id="2147376996" r:id="rId19"/>
    <p:sldId id="2147376995" r:id="rId20"/>
    <p:sldId id="2147376998" r:id="rId21"/>
    <p:sldId id="2147376966" r:id="rId22"/>
    <p:sldId id="2147377004" r:id="rId23"/>
    <p:sldId id="2147376955" r:id="rId24"/>
    <p:sldId id="2147377005" r:id="rId25"/>
    <p:sldId id="2147376968" r:id="rId26"/>
    <p:sldId id="2147377012" r:id="rId27"/>
    <p:sldId id="2147377019" r:id="rId28"/>
    <p:sldId id="2147377018" r:id="rId29"/>
    <p:sldId id="2147377021" r:id="rId30"/>
    <p:sldId id="2147376973" r:id="rId31"/>
    <p:sldId id="2147376975" r:id="rId32"/>
    <p:sldId id="2147377017" r:id="rId33"/>
    <p:sldId id="2147377013" r:id="rId34"/>
    <p:sldId id="2147376987" r:id="rId35"/>
    <p:sldId id="2147376980" r:id="rId36"/>
    <p:sldId id="2147377023" r:id="rId37"/>
    <p:sldId id="2147376972" r:id="rId38"/>
    <p:sldId id="2147376997" r:id="rId39"/>
    <p:sldId id="259" r:id="rId40"/>
    <p:sldId id="261" r:id="rId41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7F5DB"/>
    <a:srgbClr val="A2E6AC"/>
    <a:srgbClr val="C3EFC9"/>
    <a:srgbClr val="F0D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132B061-325F-46AF-BEDD-DBAC8019C3C6}" v="3" dt="2026-01-08T10:52:51.92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Estilo medio 2 - Énfasi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90" autoAdjust="0"/>
    <p:restoredTop sz="94660"/>
  </p:normalViewPr>
  <p:slideViewPr>
    <p:cSldViewPr snapToGrid="0">
      <p:cViewPr varScale="1">
        <p:scale>
          <a:sx n="150" d="100"/>
          <a:sy n="150" d="100"/>
        </p:scale>
        <p:origin x="714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notesMaster" Target="notesMasters/notesMaster1.xml"/><Relationship Id="rId47" Type="http://schemas.microsoft.com/office/2016/11/relationships/changesInfo" Target="changesInfos/changesInfo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presProps" Target="presProps.xml"/><Relationship Id="rId48" Type="http://schemas.microsoft.com/office/2015/10/relationships/revisionInfo" Target="revisionInfo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ableStyles" Target="tableStyles.xml"/><Relationship Id="rId20" Type="http://schemas.openxmlformats.org/officeDocument/2006/relationships/slide" Target="slides/slide15.xml"/><Relationship Id="rId41" Type="http://schemas.openxmlformats.org/officeDocument/2006/relationships/slide" Target="slides/slide3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va Parisi Tria" userId="79b09202-394d-4e2d-bcbc-186dc936d36f" providerId="ADAL" clId="{1EF2A93B-595E-4E39-AAA2-55AE1E6911AA}"/>
    <pc:docChg chg="addSld delSld modSld">
      <pc:chgData name="Eva Parisi Tria" userId="79b09202-394d-4e2d-bcbc-186dc936d36f" providerId="ADAL" clId="{1EF2A93B-595E-4E39-AAA2-55AE1E6911AA}" dt="2026-01-08T10:52:51.900" v="2"/>
      <pc:docMkLst>
        <pc:docMk/>
      </pc:docMkLst>
      <pc:sldChg chg="add del">
        <pc:chgData name="Eva Parisi Tria" userId="79b09202-394d-4e2d-bcbc-186dc936d36f" providerId="ADAL" clId="{1EF2A93B-595E-4E39-AAA2-55AE1E6911AA}" dt="2026-01-08T10:52:51.900" v="2"/>
        <pc:sldMkLst>
          <pc:docMk/>
          <pc:sldMk cId="3149729878" sldId="259"/>
        </pc:sldMkLst>
      </pc:sldChg>
      <pc:sldChg chg="add del">
        <pc:chgData name="Eva Parisi Tria" userId="79b09202-394d-4e2d-bcbc-186dc936d36f" providerId="ADAL" clId="{1EF2A93B-595E-4E39-AAA2-55AE1E6911AA}" dt="2026-01-08T10:52:51.900" v="2"/>
        <pc:sldMkLst>
          <pc:docMk/>
          <pc:sldMk cId="2980358209" sldId="261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93EA81-652C-42AC-ABDC-F36BC0929AF7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5A6EA4-6B4E-4259-96A6-43A9274DA7C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585987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40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3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181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27D698-CE27-4E64-BB01-9EDB7D507198}" type="slidenum">
              <a:rPr kumimoji="0" lang="es-ES_trad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pPr marL="0" marR="0" lvl="0" indent="0" algn="r" defTabSz="91814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ES_trad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3" name="Notes Placeholder 2"/>
          <p:cNvSpPr>
            <a:spLocks noGrp="1"/>
          </p:cNvSpPr>
          <p:nvPr>
            <p:ph type="body" sz="quarter" idx="10"/>
          </p:nvPr>
        </p:nvSpPr>
        <p:spPr>
          <a:xfrm>
            <a:off x="722548" y="4784072"/>
            <a:ext cx="5363694" cy="4969528"/>
          </a:xfrm>
        </p:spPr>
        <p:txBody>
          <a:bodyPr/>
          <a:lstStyle/>
          <a:p>
            <a:pPr algn="just"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8390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5A6EA4-6B4E-4259-96A6-43A9274DA7C0}" type="slidenum">
              <a:rPr lang="es-ES" smtClean="0"/>
              <a:t>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383306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5A6EA4-6B4E-4259-96A6-43A9274DA7C0}" type="slidenum">
              <a:rPr lang="es-ES" smtClean="0"/>
              <a:t>2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156753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9A2BE49-8834-EC86-9E4A-E56FAC8A5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30751662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EST F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Imagen 37">
            <a:extLst>
              <a:ext uri="{FF2B5EF4-FFF2-40B4-BE49-F238E27FC236}">
                <a16:creationId xmlns:a16="http://schemas.microsoft.com/office/drawing/2014/main" id="{5C82E371-EEFD-424A-A184-4D330DCDFA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2CBC9F86-9730-CB61-A776-904816C2A2BF}"/>
              </a:ext>
            </a:extLst>
          </p:cNvPr>
          <p:cNvSpPr/>
          <p:nvPr userDrawn="1"/>
        </p:nvSpPr>
        <p:spPr>
          <a:xfrm>
            <a:off x="10875704" y="0"/>
            <a:ext cx="1316296" cy="323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322995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EST F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7" name="Grupo 76">
            <a:extLst>
              <a:ext uri="{FF2B5EF4-FFF2-40B4-BE49-F238E27FC236}">
                <a16:creationId xmlns:a16="http://schemas.microsoft.com/office/drawing/2014/main" id="{E5C63A3C-557F-2742-8DAC-6F774198CF5A}"/>
              </a:ext>
            </a:extLst>
          </p:cNvPr>
          <p:cNvGrpSpPr/>
          <p:nvPr userDrawn="1"/>
        </p:nvGrpSpPr>
        <p:grpSpPr>
          <a:xfrm>
            <a:off x="7694034" y="-1232050"/>
            <a:ext cx="5607983" cy="3738655"/>
            <a:chOff x="5429332" y="-1308126"/>
            <a:chExt cx="4782119" cy="3188079"/>
          </a:xfrm>
        </p:grpSpPr>
        <p:grpSp>
          <p:nvGrpSpPr>
            <p:cNvPr id="78" name="Gráfico 16">
              <a:extLst>
                <a:ext uri="{FF2B5EF4-FFF2-40B4-BE49-F238E27FC236}">
                  <a16:creationId xmlns:a16="http://schemas.microsoft.com/office/drawing/2014/main" id="{2AEC8D84-0817-7944-B365-3E066FEA40B5}"/>
                </a:ext>
              </a:extLst>
            </p:cNvPr>
            <p:cNvGrpSpPr/>
            <p:nvPr/>
          </p:nvGrpSpPr>
          <p:grpSpPr>
            <a:xfrm>
              <a:off x="5429332" y="-1308126"/>
              <a:ext cx="4782119" cy="3188079"/>
              <a:chOff x="714375" y="0"/>
              <a:chExt cx="7715250" cy="5143500"/>
            </a:xfrm>
            <a:gradFill flip="none" rotWithShape="1">
              <a:gsLst>
                <a:gs pos="70000">
                  <a:schemeClr val="bg1"/>
                </a:gs>
                <a:gs pos="0">
                  <a:schemeClr val="bg1">
                    <a:lumMod val="85000"/>
                  </a:schemeClr>
                </a:gs>
              </a:gsLst>
              <a:lin ang="18900000" scaled="1"/>
              <a:tileRect/>
            </a:gradFill>
          </p:grpSpPr>
          <p:sp>
            <p:nvSpPr>
              <p:cNvPr id="124" name="Forma libre 123">
                <a:extLst>
                  <a:ext uri="{FF2B5EF4-FFF2-40B4-BE49-F238E27FC236}">
                    <a16:creationId xmlns:a16="http://schemas.microsoft.com/office/drawing/2014/main" id="{50D70F4A-4848-FA4E-86AA-FD5302B03B7C}"/>
                  </a:ext>
                </a:extLst>
              </p:cNvPr>
              <p:cNvSpPr/>
              <p:nvPr/>
            </p:nvSpPr>
            <p:spPr>
              <a:xfrm>
                <a:off x="8323604" y="0"/>
                <a:ext cx="106020" cy="8869"/>
              </a:xfrm>
              <a:custGeom>
                <a:avLst/>
                <a:gdLst>
                  <a:gd name="connsiteX0" fmla="*/ 106020 w 106020"/>
                  <a:gd name="connsiteY0" fmla="*/ 7221 h 8869"/>
                  <a:gd name="connsiteX1" fmla="*/ 106020 w 106020"/>
                  <a:gd name="connsiteY1" fmla="*/ 8869 h 8869"/>
                  <a:gd name="connsiteX2" fmla="*/ 0 w 106020"/>
                  <a:gd name="connsiteY2" fmla="*/ 0 h 8869"/>
                  <a:gd name="connsiteX3" fmla="*/ 21384 w 106020"/>
                  <a:gd name="connsiteY3" fmla="*/ 0 h 8869"/>
                  <a:gd name="connsiteX4" fmla="*/ 106020 w 106020"/>
                  <a:gd name="connsiteY4" fmla="*/ 7221 h 8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020" h="8869">
                    <a:moveTo>
                      <a:pt x="106020" y="7221"/>
                    </a:moveTo>
                    <a:lnTo>
                      <a:pt x="106020" y="8869"/>
                    </a:lnTo>
                    <a:cubicBezTo>
                      <a:pt x="70593" y="5622"/>
                      <a:pt x="35246" y="2671"/>
                      <a:pt x="0" y="0"/>
                    </a:cubicBezTo>
                    <a:lnTo>
                      <a:pt x="21384" y="0"/>
                    </a:lnTo>
                    <a:cubicBezTo>
                      <a:pt x="49541" y="2226"/>
                      <a:pt x="77748" y="4616"/>
                      <a:pt x="106020" y="7221"/>
                    </a:cubicBezTo>
                    <a:close/>
                  </a:path>
                </a:pathLst>
              </a:custGeom>
              <a:grpFill/>
              <a:ln w="16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grpSp>
            <p:nvGrpSpPr>
              <p:cNvPr id="125" name="Gráfico 16">
                <a:extLst>
                  <a:ext uri="{FF2B5EF4-FFF2-40B4-BE49-F238E27FC236}">
                    <a16:creationId xmlns:a16="http://schemas.microsoft.com/office/drawing/2014/main" id="{7F745EC9-43CF-D649-9A23-27132D697CE2}"/>
                  </a:ext>
                </a:extLst>
              </p:cNvPr>
              <p:cNvGrpSpPr/>
              <p:nvPr/>
            </p:nvGrpSpPr>
            <p:grpSpPr>
              <a:xfrm>
                <a:off x="7521383" y="0"/>
                <a:ext cx="908241" cy="5143501"/>
                <a:chOff x="7521383" y="0"/>
                <a:chExt cx="908241" cy="5143501"/>
              </a:xfrm>
              <a:grpFill/>
            </p:grpSpPr>
            <p:sp>
              <p:nvSpPr>
                <p:cNvPr id="236" name="Forma libre 235">
                  <a:extLst>
                    <a:ext uri="{FF2B5EF4-FFF2-40B4-BE49-F238E27FC236}">
                      <a16:creationId xmlns:a16="http://schemas.microsoft.com/office/drawing/2014/main" id="{0CD9FF4C-34FF-7E43-8F2E-03860D0A53D1}"/>
                    </a:ext>
                  </a:extLst>
                </p:cNvPr>
                <p:cNvSpPr/>
                <p:nvPr/>
              </p:nvSpPr>
              <p:spPr>
                <a:xfrm>
                  <a:off x="8378008" y="0"/>
                  <a:ext cx="51616" cy="350285"/>
                </a:xfrm>
                <a:custGeom>
                  <a:avLst/>
                  <a:gdLst>
                    <a:gd name="connsiteX0" fmla="*/ 51616 w 51616"/>
                    <a:gd name="connsiteY0" fmla="*/ 327948 h 350285"/>
                    <a:gd name="connsiteX1" fmla="*/ 51616 w 51616"/>
                    <a:gd name="connsiteY1" fmla="*/ 350286 h 350285"/>
                    <a:gd name="connsiteX2" fmla="*/ 6561 w 51616"/>
                    <a:gd name="connsiteY2" fmla="*/ 29509 h 350285"/>
                    <a:gd name="connsiteX3" fmla="*/ 0 w 51616"/>
                    <a:gd name="connsiteY3" fmla="*/ 0 h 350285"/>
                    <a:gd name="connsiteX4" fmla="*/ 1683 w 51616"/>
                    <a:gd name="connsiteY4" fmla="*/ 0 h 350285"/>
                    <a:gd name="connsiteX5" fmla="*/ 8145 w 51616"/>
                    <a:gd name="connsiteY5" fmla="*/ 28998 h 350285"/>
                    <a:gd name="connsiteX6" fmla="*/ 51616 w 51616"/>
                    <a:gd name="connsiteY6" fmla="*/ 327948 h 3502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1616" h="350285">
                      <a:moveTo>
                        <a:pt x="51616" y="327948"/>
                      </a:moveTo>
                      <a:lnTo>
                        <a:pt x="51616" y="350286"/>
                      </a:lnTo>
                      <a:cubicBezTo>
                        <a:pt x="41132" y="216291"/>
                        <a:pt x="23704" y="109481"/>
                        <a:pt x="6561" y="29509"/>
                      </a:cubicBezTo>
                      <a:cubicBezTo>
                        <a:pt x="4385" y="19371"/>
                        <a:pt x="2193" y="9545"/>
                        <a:pt x="0" y="0"/>
                      </a:cubicBezTo>
                      <a:lnTo>
                        <a:pt x="1683" y="0"/>
                      </a:lnTo>
                      <a:cubicBezTo>
                        <a:pt x="3859" y="9380"/>
                        <a:pt x="6003" y="19041"/>
                        <a:pt x="8145" y="28998"/>
                      </a:cubicBezTo>
                      <a:cubicBezTo>
                        <a:pt x="27844" y="120922"/>
                        <a:pt x="42434" y="221286"/>
                        <a:pt x="51616" y="32794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37" name="Forma libre 236">
                  <a:extLst>
                    <a:ext uri="{FF2B5EF4-FFF2-40B4-BE49-F238E27FC236}">
                      <a16:creationId xmlns:a16="http://schemas.microsoft.com/office/drawing/2014/main" id="{3AE72032-F870-8448-A4F3-8CFF4CC2597D}"/>
                    </a:ext>
                  </a:extLst>
                </p:cNvPr>
                <p:cNvSpPr/>
                <p:nvPr/>
              </p:nvSpPr>
              <p:spPr>
                <a:xfrm>
                  <a:off x="8391675" y="0"/>
                  <a:ext cx="37949" cy="177071"/>
                </a:xfrm>
                <a:custGeom>
                  <a:avLst/>
                  <a:gdLst>
                    <a:gd name="connsiteX0" fmla="*/ 37950 w 37949"/>
                    <a:gd name="connsiteY0" fmla="*/ 162152 h 177071"/>
                    <a:gd name="connsiteX1" fmla="*/ 37950 w 37949"/>
                    <a:gd name="connsiteY1" fmla="*/ 177072 h 177071"/>
                    <a:gd name="connsiteX2" fmla="*/ 0 w 37949"/>
                    <a:gd name="connsiteY2" fmla="*/ 0 h 177071"/>
                    <a:gd name="connsiteX3" fmla="*/ 1894 w 37949"/>
                    <a:gd name="connsiteY3" fmla="*/ 0 h 177071"/>
                    <a:gd name="connsiteX4" fmla="*/ 37950 w 37949"/>
                    <a:gd name="connsiteY4" fmla="*/ 162152 h 177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7949" h="177071">
                      <a:moveTo>
                        <a:pt x="37950" y="162152"/>
                      </a:moveTo>
                      <a:lnTo>
                        <a:pt x="37950" y="177072"/>
                      </a:lnTo>
                      <a:cubicBezTo>
                        <a:pt x="27432" y="115993"/>
                        <a:pt x="14788" y="56941"/>
                        <a:pt x="0" y="0"/>
                      </a:cubicBezTo>
                      <a:lnTo>
                        <a:pt x="1894" y="0"/>
                      </a:lnTo>
                      <a:cubicBezTo>
                        <a:pt x="12331" y="39005"/>
                        <a:pt x="25471" y="92599"/>
                        <a:pt x="37950" y="16215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38" name="Forma libre 237">
                  <a:extLst>
                    <a:ext uri="{FF2B5EF4-FFF2-40B4-BE49-F238E27FC236}">
                      <a16:creationId xmlns:a16="http://schemas.microsoft.com/office/drawing/2014/main" id="{42C9673F-44F2-4542-AA9D-62D77A3C91D4}"/>
                    </a:ext>
                  </a:extLst>
                </p:cNvPr>
                <p:cNvSpPr/>
                <p:nvPr/>
              </p:nvSpPr>
              <p:spPr>
                <a:xfrm>
                  <a:off x="7521383" y="4150903"/>
                  <a:ext cx="908241" cy="992596"/>
                </a:xfrm>
                <a:custGeom>
                  <a:avLst/>
                  <a:gdLst>
                    <a:gd name="connsiteX0" fmla="*/ 908242 w 908241"/>
                    <a:gd name="connsiteY0" fmla="*/ 0 h 992596"/>
                    <a:gd name="connsiteX1" fmla="*/ 908242 w 908241"/>
                    <a:gd name="connsiteY1" fmla="*/ 2537 h 992596"/>
                    <a:gd name="connsiteX2" fmla="*/ 2293 w 908241"/>
                    <a:gd name="connsiteY2" fmla="*/ 992597 h 992596"/>
                    <a:gd name="connsiteX3" fmla="*/ 0 w 908241"/>
                    <a:gd name="connsiteY3" fmla="*/ 992597 h 992596"/>
                    <a:gd name="connsiteX4" fmla="*/ 908242 w 908241"/>
                    <a:gd name="connsiteY4" fmla="*/ 0 h 9925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08241" h="992596">
                      <a:moveTo>
                        <a:pt x="908242" y="0"/>
                      </a:moveTo>
                      <a:lnTo>
                        <a:pt x="908242" y="2537"/>
                      </a:lnTo>
                      <a:cubicBezTo>
                        <a:pt x="672894" y="276529"/>
                        <a:pt x="380307" y="610080"/>
                        <a:pt x="2293" y="992597"/>
                      </a:cubicBezTo>
                      <a:lnTo>
                        <a:pt x="0" y="992597"/>
                      </a:lnTo>
                      <a:cubicBezTo>
                        <a:pt x="379187" y="608944"/>
                        <a:pt x="672465" y="274518"/>
                        <a:pt x="908242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39" name="Forma libre 238">
                  <a:extLst>
                    <a:ext uri="{FF2B5EF4-FFF2-40B4-BE49-F238E27FC236}">
                      <a16:creationId xmlns:a16="http://schemas.microsoft.com/office/drawing/2014/main" id="{BABC1185-2AAB-BE40-9DDD-69F385545A49}"/>
                    </a:ext>
                  </a:extLst>
                </p:cNvPr>
                <p:cNvSpPr/>
                <p:nvPr/>
              </p:nvSpPr>
              <p:spPr>
                <a:xfrm>
                  <a:off x="7583471" y="4263697"/>
                  <a:ext cx="846153" cy="879800"/>
                </a:xfrm>
                <a:custGeom>
                  <a:avLst/>
                  <a:gdLst>
                    <a:gd name="connsiteX0" fmla="*/ 846154 w 846153"/>
                    <a:gd name="connsiteY0" fmla="*/ 0 h 879800"/>
                    <a:gd name="connsiteX1" fmla="*/ 846154 w 846153"/>
                    <a:gd name="connsiteY1" fmla="*/ 2438 h 879800"/>
                    <a:gd name="connsiteX2" fmla="*/ 2389 w 846153"/>
                    <a:gd name="connsiteY2" fmla="*/ 879801 h 879800"/>
                    <a:gd name="connsiteX3" fmla="*/ 0 w 846153"/>
                    <a:gd name="connsiteY3" fmla="*/ 879801 h 879800"/>
                    <a:gd name="connsiteX4" fmla="*/ 846154 w 846153"/>
                    <a:gd name="connsiteY4" fmla="*/ 0 h 879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46153" h="879800">
                      <a:moveTo>
                        <a:pt x="846154" y="0"/>
                      </a:moveTo>
                      <a:lnTo>
                        <a:pt x="846154" y="2438"/>
                      </a:lnTo>
                      <a:cubicBezTo>
                        <a:pt x="614449" y="254702"/>
                        <a:pt x="344067" y="546363"/>
                        <a:pt x="2389" y="879801"/>
                      </a:cubicBezTo>
                      <a:lnTo>
                        <a:pt x="0" y="879801"/>
                      </a:lnTo>
                      <a:cubicBezTo>
                        <a:pt x="342831" y="545324"/>
                        <a:pt x="613938" y="252837"/>
                        <a:pt x="846154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0" name="Forma libre 239">
                  <a:extLst>
                    <a:ext uri="{FF2B5EF4-FFF2-40B4-BE49-F238E27FC236}">
                      <a16:creationId xmlns:a16="http://schemas.microsoft.com/office/drawing/2014/main" id="{E7DCBC3D-D890-2347-8179-E37D838A1117}"/>
                    </a:ext>
                  </a:extLst>
                </p:cNvPr>
                <p:cNvSpPr/>
                <p:nvPr/>
              </p:nvSpPr>
              <p:spPr>
                <a:xfrm>
                  <a:off x="7650747" y="4375338"/>
                  <a:ext cx="778877" cy="768163"/>
                </a:xfrm>
                <a:custGeom>
                  <a:avLst/>
                  <a:gdLst>
                    <a:gd name="connsiteX0" fmla="*/ 778878 w 778877"/>
                    <a:gd name="connsiteY0" fmla="*/ 0 h 768163"/>
                    <a:gd name="connsiteX1" fmla="*/ 778878 w 778877"/>
                    <a:gd name="connsiteY1" fmla="*/ 2357 h 768163"/>
                    <a:gd name="connsiteX2" fmla="*/ 772629 w 778877"/>
                    <a:gd name="connsiteY2" fmla="*/ 8706 h 768163"/>
                    <a:gd name="connsiteX3" fmla="*/ 2391 w 778877"/>
                    <a:gd name="connsiteY3" fmla="*/ 768164 h 768163"/>
                    <a:gd name="connsiteX4" fmla="*/ 0 w 778877"/>
                    <a:gd name="connsiteY4" fmla="*/ 768164 h 768163"/>
                    <a:gd name="connsiteX5" fmla="*/ 771443 w 778877"/>
                    <a:gd name="connsiteY5" fmla="*/ 7552 h 768163"/>
                    <a:gd name="connsiteX6" fmla="*/ 778878 w 778877"/>
                    <a:gd name="connsiteY6" fmla="*/ 0 h 7681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78877" h="768163">
                      <a:moveTo>
                        <a:pt x="778878" y="0"/>
                      </a:moveTo>
                      <a:lnTo>
                        <a:pt x="778878" y="2357"/>
                      </a:lnTo>
                      <a:cubicBezTo>
                        <a:pt x="776801" y="4468"/>
                        <a:pt x="774723" y="6579"/>
                        <a:pt x="772629" y="8706"/>
                      </a:cubicBezTo>
                      <a:cubicBezTo>
                        <a:pt x="556734" y="228178"/>
                        <a:pt x="307143" y="481890"/>
                        <a:pt x="2391" y="768164"/>
                      </a:cubicBezTo>
                      <a:lnTo>
                        <a:pt x="0" y="768164"/>
                      </a:lnTo>
                      <a:cubicBezTo>
                        <a:pt x="305313" y="481415"/>
                        <a:pt x="555265" y="227321"/>
                        <a:pt x="771443" y="7552"/>
                      </a:cubicBezTo>
                      <a:cubicBezTo>
                        <a:pt x="773932" y="5028"/>
                        <a:pt x="776405" y="2507"/>
                        <a:pt x="778878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1" name="Forma libre 240">
                  <a:extLst>
                    <a:ext uri="{FF2B5EF4-FFF2-40B4-BE49-F238E27FC236}">
                      <a16:creationId xmlns:a16="http://schemas.microsoft.com/office/drawing/2014/main" id="{E7F482BB-4FF2-4B4D-A99B-4EAD31A7D3B5}"/>
                    </a:ext>
                  </a:extLst>
                </p:cNvPr>
                <p:cNvSpPr/>
                <p:nvPr/>
              </p:nvSpPr>
              <p:spPr>
                <a:xfrm>
                  <a:off x="7724438" y="4485923"/>
                  <a:ext cx="705186" cy="657576"/>
                </a:xfrm>
                <a:custGeom>
                  <a:avLst/>
                  <a:gdLst>
                    <a:gd name="connsiteX0" fmla="*/ 705187 w 705186"/>
                    <a:gd name="connsiteY0" fmla="*/ 0 h 657576"/>
                    <a:gd name="connsiteX1" fmla="*/ 705187 w 705186"/>
                    <a:gd name="connsiteY1" fmla="*/ 2275 h 657576"/>
                    <a:gd name="connsiteX2" fmla="*/ 628957 w 705186"/>
                    <a:gd name="connsiteY2" fmla="*/ 74564 h 657576"/>
                    <a:gd name="connsiteX3" fmla="*/ 2489 w 705186"/>
                    <a:gd name="connsiteY3" fmla="*/ 657577 h 657576"/>
                    <a:gd name="connsiteX4" fmla="*/ 0 w 705186"/>
                    <a:gd name="connsiteY4" fmla="*/ 657577 h 657576"/>
                    <a:gd name="connsiteX5" fmla="*/ 627818 w 705186"/>
                    <a:gd name="connsiteY5" fmla="*/ 73361 h 657576"/>
                    <a:gd name="connsiteX6" fmla="*/ 705187 w 705186"/>
                    <a:gd name="connsiteY6" fmla="*/ 0 h 6575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05186" h="657576">
                      <a:moveTo>
                        <a:pt x="705187" y="0"/>
                      </a:moveTo>
                      <a:lnTo>
                        <a:pt x="705187" y="2275"/>
                      </a:lnTo>
                      <a:cubicBezTo>
                        <a:pt x="680244" y="25899"/>
                        <a:pt x="654857" y="50000"/>
                        <a:pt x="628957" y="74564"/>
                      </a:cubicBezTo>
                      <a:cubicBezTo>
                        <a:pt x="447568" y="246674"/>
                        <a:pt x="241695" y="441996"/>
                        <a:pt x="2489" y="657577"/>
                      </a:cubicBezTo>
                      <a:lnTo>
                        <a:pt x="0" y="657577"/>
                      </a:lnTo>
                      <a:cubicBezTo>
                        <a:pt x="239781" y="441549"/>
                        <a:pt x="446099" y="245800"/>
                        <a:pt x="627818" y="73361"/>
                      </a:cubicBezTo>
                      <a:cubicBezTo>
                        <a:pt x="654114" y="48418"/>
                        <a:pt x="679881" y="23970"/>
                        <a:pt x="705187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2" name="Forma libre 241">
                  <a:extLst>
                    <a:ext uri="{FF2B5EF4-FFF2-40B4-BE49-F238E27FC236}">
                      <a16:creationId xmlns:a16="http://schemas.microsoft.com/office/drawing/2014/main" id="{06413295-3CFB-BC49-8532-1815C6B8FD09}"/>
                    </a:ext>
                  </a:extLst>
                </p:cNvPr>
                <p:cNvSpPr/>
                <p:nvPr/>
              </p:nvSpPr>
              <p:spPr>
                <a:xfrm>
                  <a:off x="7805779" y="4595552"/>
                  <a:ext cx="623845" cy="547947"/>
                </a:xfrm>
                <a:custGeom>
                  <a:avLst/>
                  <a:gdLst>
                    <a:gd name="connsiteX0" fmla="*/ 623845 w 623845"/>
                    <a:gd name="connsiteY0" fmla="*/ 0 h 547947"/>
                    <a:gd name="connsiteX1" fmla="*/ 623845 w 623845"/>
                    <a:gd name="connsiteY1" fmla="*/ 2209 h 547947"/>
                    <a:gd name="connsiteX2" fmla="*/ 471305 w 623845"/>
                    <a:gd name="connsiteY2" fmla="*/ 137094 h 547947"/>
                    <a:gd name="connsiteX3" fmla="*/ 2520 w 623845"/>
                    <a:gd name="connsiteY3" fmla="*/ 547947 h 547947"/>
                    <a:gd name="connsiteX4" fmla="*/ 0 w 623845"/>
                    <a:gd name="connsiteY4" fmla="*/ 547947 h 547947"/>
                    <a:gd name="connsiteX5" fmla="*/ 470218 w 623845"/>
                    <a:gd name="connsiteY5" fmla="*/ 135858 h 547947"/>
                    <a:gd name="connsiteX6" fmla="*/ 623845 w 623845"/>
                    <a:gd name="connsiteY6" fmla="*/ 0 h 547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3845" h="547947">
                      <a:moveTo>
                        <a:pt x="623845" y="0"/>
                      </a:moveTo>
                      <a:lnTo>
                        <a:pt x="623845" y="2209"/>
                      </a:lnTo>
                      <a:cubicBezTo>
                        <a:pt x="574587" y="45615"/>
                        <a:pt x="523796" y="90605"/>
                        <a:pt x="471305" y="137094"/>
                      </a:cubicBezTo>
                      <a:cubicBezTo>
                        <a:pt x="331045" y="261329"/>
                        <a:pt x="175570" y="399048"/>
                        <a:pt x="2520" y="547947"/>
                      </a:cubicBezTo>
                      <a:lnTo>
                        <a:pt x="0" y="547947"/>
                      </a:lnTo>
                      <a:cubicBezTo>
                        <a:pt x="173610" y="398573"/>
                        <a:pt x="329563" y="260439"/>
                        <a:pt x="470218" y="135858"/>
                      </a:cubicBezTo>
                      <a:cubicBezTo>
                        <a:pt x="523267" y="88874"/>
                        <a:pt x="574389" y="43589"/>
                        <a:pt x="623845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3" name="Forma libre 242">
                  <a:extLst>
                    <a:ext uri="{FF2B5EF4-FFF2-40B4-BE49-F238E27FC236}">
                      <a16:creationId xmlns:a16="http://schemas.microsoft.com/office/drawing/2014/main" id="{4E5BDD3F-DB38-6449-9133-8B0E2EAF7DDF}"/>
                    </a:ext>
                  </a:extLst>
                </p:cNvPr>
                <p:cNvSpPr/>
                <p:nvPr/>
              </p:nvSpPr>
              <p:spPr>
                <a:xfrm>
                  <a:off x="7896397" y="4704307"/>
                  <a:ext cx="533227" cy="439192"/>
                </a:xfrm>
                <a:custGeom>
                  <a:avLst/>
                  <a:gdLst>
                    <a:gd name="connsiteX0" fmla="*/ 533228 w 533227"/>
                    <a:gd name="connsiteY0" fmla="*/ 0 h 439192"/>
                    <a:gd name="connsiteX1" fmla="*/ 533228 w 533227"/>
                    <a:gd name="connsiteY1" fmla="*/ 2110 h 439192"/>
                    <a:gd name="connsiteX2" fmla="*/ 298061 w 533227"/>
                    <a:gd name="connsiteY2" fmla="*/ 195881 h 439192"/>
                    <a:gd name="connsiteX3" fmla="*/ 2606 w 533227"/>
                    <a:gd name="connsiteY3" fmla="*/ 439192 h 439192"/>
                    <a:gd name="connsiteX4" fmla="*/ 0 w 533227"/>
                    <a:gd name="connsiteY4" fmla="*/ 439192 h 439192"/>
                    <a:gd name="connsiteX5" fmla="*/ 297006 w 533227"/>
                    <a:gd name="connsiteY5" fmla="*/ 194614 h 439192"/>
                    <a:gd name="connsiteX6" fmla="*/ 533228 w 533227"/>
                    <a:gd name="connsiteY6" fmla="*/ 0 h 439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3227" h="439192">
                      <a:moveTo>
                        <a:pt x="533228" y="0"/>
                      </a:moveTo>
                      <a:lnTo>
                        <a:pt x="533228" y="2110"/>
                      </a:lnTo>
                      <a:cubicBezTo>
                        <a:pt x="458268" y="63436"/>
                        <a:pt x="380092" y="128058"/>
                        <a:pt x="298061" y="195881"/>
                      </a:cubicBezTo>
                      <a:cubicBezTo>
                        <a:pt x="203782" y="273824"/>
                        <a:pt x="105757" y="354867"/>
                        <a:pt x="2606" y="439192"/>
                      </a:cubicBezTo>
                      <a:lnTo>
                        <a:pt x="0" y="439192"/>
                      </a:lnTo>
                      <a:cubicBezTo>
                        <a:pt x="103730" y="354407"/>
                        <a:pt x="202264" y="272935"/>
                        <a:pt x="297006" y="194614"/>
                      </a:cubicBezTo>
                      <a:cubicBezTo>
                        <a:pt x="379416" y="126479"/>
                        <a:pt x="457955" y="61557"/>
                        <a:pt x="533228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4" name="Forma libre 243">
                  <a:extLst>
                    <a:ext uri="{FF2B5EF4-FFF2-40B4-BE49-F238E27FC236}">
                      <a16:creationId xmlns:a16="http://schemas.microsoft.com/office/drawing/2014/main" id="{661CB0A0-0E18-E145-A076-30BBEE27F600}"/>
                    </a:ext>
                  </a:extLst>
                </p:cNvPr>
                <p:cNvSpPr/>
                <p:nvPr/>
              </p:nvSpPr>
              <p:spPr>
                <a:xfrm>
                  <a:off x="7998113" y="4812222"/>
                  <a:ext cx="431511" cy="331277"/>
                </a:xfrm>
                <a:custGeom>
                  <a:avLst/>
                  <a:gdLst>
                    <a:gd name="connsiteX0" fmla="*/ 431512 w 431511"/>
                    <a:gd name="connsiteY0" fmla="*/ 0 h 331277"/>
                    <a:gd name="connsiteX1" fmla="*/ 431512 w 431511"/>
                    <a:gd name="connsiteY1" fmla="*/ 2044 h 331277"/>
                    <a:gd name="connsiteX2" fmla="*/ 107488 w 431511"/>
                    <a:gd name="connsiteY2" fmla="*/ 250515 h 331277"/>
                    <a:gd name="connsiteX3" fmla="*/ 2704 w 431511"/>
                    <a:gd name="connsiteY3" fmla="*/ 331278 h 331277"/>
                    <a:gd name="connsiteX4" fmla="*/ 0 w 431511"/>
                    <a:gd name="connsiteY4" fmla="*/ 331278 h 331277"/>
                    <a:gd name="connsiteX5" fmla="*/ 106480 w 431511"/>
                    <a:gd name="connsiteY5" fmla="*/ 249212 h 331277"/>
                    <a:gd name="connsiteX6" fmla="*/ 431512 w 431511"/>
                    <a:gd name="connsiteY6" fmla="*/ 0 h 3312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31511" h="331277">
                      <a:moveTo>
                        <a:pt x="431512" y="0"/>
                      </a:moveTo>
                      <a:lnTo>
                        <a:pt x="431512" y="2044"/>
                      </a:lnTo>
                      <a:cubicBezTo>
                        <a:pt x="329466" y="79312"/>
                        <a:pt x="221931" y="162267"/>
                        <a:pt x="107488" y="250515"/>
                      </a:cubicBezTo>
                      <a:cubicBezTo>
                        <a:pt x="73114" y="277024"/>
                        <a:pt x="38199" y="303944"/>
                        <a:pt x="2704" y="331278"/>
                      </a:cubicBezTo>
                      <a:lnTo>
                        <a:pt x="0" y="331278"/>
                      </a:lnTo>
                      <a:cubicBezTo>
                        <a:pt x="36070" y="303499"/>
                        <a:pt x="71547" y="276152"/>
                        <a:pt x="106480" y="249212"/>
                      </a:cubicBezTo>
                      <a:cubicBezTo>
                        <a:pt x="221815" y="160273"/>
                        <a:pt x="329466" y="77220"/>
                        <a:pt x="431512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5" name="Forma libre 244">
                  <a:extLst>
                    <a:ext uri="{FF2B5EF4-FFF2-40B4-BE49-F238E27FC236}">
                      <a16:creationId xmlns:a16="http://schemas.microsoft.com/office/drawing/2014/main" id="{855E5AFB-C812-4244-97BA-EF22F4A53BE9}"/>
                    </a:ext>
                  </a:extLst>
                </p:cNvPr>
                <p:cNvSpPr/>
                <p:nvPr/>
              </p:nvSpPr>
              <p:spPr>
                <a:xfrm>
                  <a:off x="8114140" y="4919494"/>
                  <a:ext cx="315484" cy="224004"/>
                </a:xfrm>
                <a:custGeom>
                  <a:avLst/>
                  <a:gdLst>
                    <a:gd name="connsiteX0" fmla="*/ 315485 w 315484"/>
                    <a:gd name="connsiteY0" fmla="*/ 0 h 224004"/>
                    <a:gd name="connsiteX1" fmla="*/ 315485 w 315484"/>
                    <a:gd name="connsiteY1" fmla="*/ 2026 h 224004"/>
                    <a:gd name="connsiteX2" fmla="*/ 2819 w 315484"/>
                    <a:gd name="connsiteY2" fmla="*/ 224004 h 224004"/>
                    <a:gd name="connsiteX3" fmla="*/ 0 w 315484"/>
                    <a:gd name="connsiteY3" fmla="*/ 224004 h 224004"/>
                    <a:gd name="connsiteX4" fmla="*/ 315485 w 315484"/>
                    <a:gd name="connsiteY4" fmla="*/ 0 h 2240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5484" h="224004">
                      <a:moveTo>
                        <a:pt x="315485" y="0"/>
                      </a:moveTo>
                      <a:lnTo>
                        <a:pt x="315485" y="2026"/>
                      </a:lnTo>
                      <a:cubicBezTo>
                        <a:pt x="215945" y="71447"/>
                        <a:pt x="112102" y="145582"/>
                        <a:pt x="2819" y="224004"/>
                      </a:cubicBezTo>
                      <a:lnTo>
                        <a:pt x="0" y="224004"/>
                      </a:lnTo>
                      <a:cubicBezTo>
                        <a:pt x="110007" y="145055"/>
                        <a:pt x="214857" y="70195"/>
                        <a:pt x="315485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6" name="Forma libre 245">
                  <a:extLst>
                    <a:ext uri="{FF2B5EF4-FFF2-40B4-BE49-F238E27FC236}">
                      <a16:creationId xmlns:a16="http://schemas.microsoft.com/office/drawing/2014/main" id="{C9C54356-6C6C-C14B-90B5-91EC5DE93421}"/>
                    </a:ext>
                  </a:extLst>
                </p:cNvPr>
                <p:cNvSpPr/>
                <p:nvPr/>
              </p:nvSpPr>
              <p:spPr>
                <a:xfrm>
                  <a:off x="8248942" y="5025974"/>
                  <a:ext cx="180680" cy="117525"/>
                </a:xfrm>
                <a:custGeom>
                  <a:avLst/>
                  <a:gdLst>
                    <a:gd name="connsiteX0" fmla="*/ 0 w 180680"/>
                    <a:gd name="connsiteY0" fmla="*/ 117526 h 117525"/>
                    <a:gd name="connsiteX1" fmla="*/ 2999 w 180680"/>
                    <a:gd name="connsiteY1" fmla="*/ 117526 h 117525"/>
                    <a:gd name="connsiteX2" fmla="*/ 180680 w 180680"/>
                    <a:gd name="connsiteY2" fmla="*/ 1947 h 117525"/>
                    <a:gd name="connsiteX3" fmla="*/ 180680 w 180680"/>
                    <a:gd name="connsiteY3" fmla="*/ 0 h 117525"/>
                    <a:gd name="connsiteX4" fmla="*/ 0 w 180680"/>
                    <a:gd name="connsiteY4" fmla="*/ 117526 h 117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0680" h="117525">
                      <a:moveTo>
                        <a:pt x="0" y="117526"/>
                      </a:moveTo>
                      <a:lnTo>
                        <a:pt x="2999" y="117526"/>
                      </a:lnTo>
                      <a:cubicBezTo>
                        <a:pt x="63699" y="77581"/>
                        <a:pt x="122849" y="39040"/>
                        <a:pt x="180680" y="1947"/>
                      </a:cubicBezTo>
                      <a:lnTo>
                        <a:pt x="180680" y="0"/>
                      </a:lnTo>
                      <a:cubicBezTo>
                        <a:pt x="121828" y="37736"/>
                        <a:pt x="61656" y="76938"/>
                        <a:pt x="0" y="117526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7" name="Forma libre 246">
                  <a:extLst>
                    <a:ext uri="{FF2B5EF4-FFF2-40B4-BE49-F238E27FC236}">
                      <a16:creationId xmlns:a16="http://schemas.microsoft.com/office/drawing/2014/main" id="{3B4556B8-D6B0-444C-80B8-AD65B0E637E1}"/>
                    </a:ext>
                  </a:extLst>
                </p:cNvPr>
                <p:cNvSpPr/>
                <p:nvPr/>
              </p:nvSpPr>
              <p:spPr>
                <a:xfrm>
                  <a:off x="8409727" y="5131795"/>
                  <a:ext cx="19897" cy="11704"/>
                </a:xfrm>
                <a:custGeom>
                  <a:avLst/>
                  <a:gdLst>
                    <a:gd name="connsiteX0" fmla="*/ 19898 w 19897"/>
                    <a:gd name="connsiteY0" fmla="*/ 0 h 11704"/>
                    <a:gd name="connsiteX1" fmla="*/ 19898 w 19897"/>
                    <a:gd name="connsiteY1" fmla="*/ 1781 h 11704"/>
                    <a:gd name="connsiteX2" fmla="*/ 3033 w 19897"/>
                    <a:gd name="connsiteY2" fmla="*/ 11705 h 11704"/>
                    <a:gd name="connsiteX3" fmla="*/ 0 w 19897"/>
                    <a:gd name="connsiteY3" fmla="*/ 11705 h 11704"/>
                    <a:gd name="connsiteX4" fmla="*/ 19898 w 19897"/>
                    <a:gd name="connsiteY4" fmla="*/ 0 h 11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897" h="11704">
                      <a:moveTo>
                        <a:pt x="19898" y="0"/>
                      </a:moveTo>
                      <a:lnTo>
                        <a:pt x="19898" y="1781"/>
                      </a:lnTo>
                      <a:cubicBezTo>
                        <a:pt x="14293" y="5078"/>
                        <a:pt x="8669" y="8375"/>
                        <a:pt x="3033" y="11705"/>
                      </a:cubicBezTo>
                      <a:lnTo>
                        <a:pt x="0" y="11705"/>
                      </a:lnTo>
                      <a:cubicBezTo>
                        <a:pt x="6643" y="7782"/>
                        <a:pt x="13287" y="3874"/>
                        <a:pt x="19898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</p:grpSp>
          <p:grpSp>
            <p:nvGrpSpPr>
              <p:cNvPr id="126" name="Gráfico 16">
                <a:extLst>
                  <a:ext uri="{FF2B5EF4-FFF2-40B4-BE49-F238E27FC236}">
                    <a16:creationId xmlns:a16="http://schemas.microsoft.com/office/drawing/2014/main" id="{0A57B86B-1BD6-774E-A0E1-54161A18F691}"/>
                  </a:ext>
                </a:extLst>
              </p:cNvPr>
              <p:cNvGrpSpPr/>
              <p:nvPr/>
            </p:nvGrpSpPr>
            <p:grpSpPr>
              <a:xfrm>
                <a:off x="4018760" y="879375"/>
                <a:ext cx="4281793" cy="3267852"/>
                <a:chOff x="4018760" y="879375"/>
                <a:chExt cx="4281793" cy="3267852"/>
              </a:xfrm>
              <a:grpFill/>
            </p:grpSpPr>
            <p:sp>
              <p:nvSpPr>
                <p:cNvPr id="130" name="Forma libre 129">
                  <a:extLst>
                    <a:ext uri="{FF2B5EF4-FFF2-40B4-BE49-F238E27FC236}">
                      <a16:creationId xmlns:a16="http://schemas.microsoft.com/office/drawing/2014/main" id="{8356BEEF-7192-B447-9E6A-478742382793}"/>
                    </a:ext>
                  </a:extLst>
                </p:cNvPr>
                <p:cNvSpPr/>
                <p:nvPr/>
              </p:nvSpPr>
              <p:spPr>
                <a:xfrm>
                  <a:off x="5873481" y="2992897"/>
                  <a:ext cx="338537" cy="168199"/>
                </a:xfrm>
                <a:custGeom>
                  <a:avLst/>
                  <a:gdLst>
                    <a:gd name="connsiteX0" fmla="*/ 299856 w 338537"/>
                    <a:gd name="connsiteY0" fmla="*/ 11657 h 168199"/>
                    <a:gd name="connsiteX1" fmla="*/ 298127 w 338537"/>
                    <a:gd name="connsiteY1" fmla="*/ 8650 h 168199"/>
                    <a:gd name="connsiteX2" fmla="*/ 295311 w 338537"/>
                    <a:gd name="connsiteY2" fmla="*/ 8258 h 168199"/>
                    <a:gd name="connsiteX3" fmla="*/ 292475 w 338537"/>
                    <a:gd name="connsiteY3" fmla="*/ 7999 h 168199"/>
                    <a:gd name="connsiteX4" fmla="*/ 282746 w 338537"/>
                    <a:gd name="connsiteY4" fmla="*/ 4319 h 168199"/>
                    <a:gd name="connsiteX5" fmla="*/ 275858 w 338537"/>
                    <a:gd name="connsiteY5" fmla="*/ 1690 h 168199"/>
                    <a:gd name="connsiteX6" fmla="*/ 261799 w 338537"/>
                    <a:gd name="connsiteY6" fmla="*/ 13599 h 168199"/>
                    <a:gd name="connsiteX7" fmla="*/ 260642 w 338537"/>
                    <a:gd name="connsiteY7" fmla="*/ 15211 h 168199"/>
                    <a:gd name="connsiteX8" fmla="*/ 241992 w 338537"/>
                    <a:gd name="connsiteY8" fmla="*/ 27308 h 168199"/>
                    <a:gd name="connsiteX9" fmla="*/ 230744 w 338537"/>
                    <a:gd name="connsiteY9" fmla="*/ 23668 h 168199"/>
                    <a:gd name="connsiteX10" fmla="*/ 227854 w 338537"/>
                    <a:gd name="connsiteY10" fmla="*/ 20370 h 168199"/>
                    <a:gd name="connsiteX11" fmla="*/ 226070 w 338537"/>
                    <a:gd name="connsiteY11" fmla="*/ 18325 h 168199"/>
                    <a:gd name="connsiteX12" fmla="*/ 224820 w 338537"/>
                    <a:gd name="connsiteY12" fmla="*/ 18625 h 168199"/>
                    <a:gd name="connsiteX13" fmla="*/ 219036 w 338537"/>
                    <a:gd name="connsiteY13" fmla="*/ 18907 h 168199"/>
                    <a:gd name="connsiteX14" fmla="*/ 210041 w 338537"/>
                    <a:gd name="connsiteY14" fmla="*/ 8444 h 168199"/>
                    <a:gd name="connsiteX15" fmla="*/ 209011 w 338537"/>
                    <a:gd name="connsiteY15" fmla="*/ 5607 h 168199"/>
                    <a:gd name="connsiteX16" fmla="*/ 205176 w 338537"/>
                    <a:gd name="connsiteY16" fmla="*/ 2389 h 168199"/>
                    <a:gd name="connsiteX17" fmla="*/ 187937 w 338537"/>
                    <a:gd name="connsiteY17" fmla="*/ 5547 h 168199"/>
                    <a:gd name="connsiteX18" fmla="*/ 185420 w 338537"/>
                    <a:gd name="connsiteY18" fmla="*/ 6973 h 168199"/>
                    <a:gd name="connsiteX19" fmla="*/ 153298 w 338537"/>
                    <a:gd name="connsiteY19" fmla="*/ 13574 h 168199"/>
                    <a:gd name="connsiteX20" fmla="*/ 143622 w 338537"/>
                    <a:gd name="connsiteY20" fmla="*/ 5974 h 168199"/>
                    <a:gd name="connsiteX21" fmla="*/ 138843 w 338537"/>
                    <a:gd name="connsiteY21" fmla="*/ 1593 h 168199"/>
                    <a:gd name="connsiteX22" fmla="*/ 132686 w 338537"/>
                    <a:gd name="connsiteY22" fmla="*/ 513 h 168199"/>
                    <a:gd name="connsiteX23" fmla="*/ 130155 w 338537"/>
                    <a:gd name="connsiteY23" fmla="*/ 0 h 168199"/>
                    <a:gd name="connsiteX24" fmla="*/ 128635 w 338537"/>
                    <a:gd name="connsiteY24" fmla="*/ 13419 h 168199"/>
                    <a:gd name="connsiteX25" fmla="*/ 114476 w 338537"/>
                    <a:gd name="connsiteY25" fmla="*/ 29351 h 168199"/>
                    <a:gd name="connsiteX26" fmla="*/ 106917 w 338537"/>
                    <a:gd name="connsiteY26" fmla="*/ 35902 h 168199"/>
                    <a:gd name="connsiteX27" fmla="*/ 97492 w 338537"/>
                    <a:gd name="connsiteY27" fmla="*/ 51478 h 168199"/>
                    <a:gd name="connsiteX28" fmla="*/ 89621 w 338537"/>
                    <a:gd name="connsiteY28" fmla="*/ 65603 h 168199"/>
                    <a:gd name="connsiteX29" fmla="*/ 66862 w 338537"/>
                    <a:gd name="connsiteY29" fmla="*/ 78991 h 168199"/>
                    <a:gd name="connsiteX30" fmla="*/ 60596 w 338537"/>
                    <a:gd name="connsiteY30" fmla="*/ 78562 h 168199"/>
                    <a:gd name="connsiteX31" fmla="*/ 60438 w 338537"/>
                    <a:gd name="connsiteY31" fmla="*/ 78977 h 168199"/>
                    <a:gd name="connsiteX32" fmla="*/ 48237 w 338537"/>
                    <a:gd name="connsiteY32" fmla="*/ 91066 h 168199"/>
                    <a:gd name="connsiteX33" fmla="*/ 37709 w 338537"/>
                    <a:gd name="connsiteY33" fmla="*/ 94052 h 168199"/>
                    <a:gd name="connsiteX34" fmla="*/ 28274 w 338537"/>
                    <a:gd name="connsiteY34" fmla="*/ 96802 h 168199"/>
                    <a:gd name="connsiteX35" fmla="*/ 22555 w 338537"/>
                    <a:gd name="connsiteY35" fmla="*/ 103122 h 168199"/>
                    <a:gd name="connsiteX36" fmla="*/ 22805 w 338537"/>
                    <a:gd name="connsiteY36" fmla="*/ 106068 h 168199"/>
                    <a:gd name="connsiteX37" fmla="*/ 25729 w 338537"/>
                    <a:gd name="connsiteY37" fmla="*/ 110681 h 168199"/>
                    <a:gd name="connsiteX38" fmla="*/ 21027 w 338537"/>
                    <a:gd name="connsiteY38" fmla="*/ 113457 h 168199"/>
                    <a:gd name="connsiteX39" fmla="*/ 14437 w 338537"/>
                    <a:gd name="connsiteY39" fmla="*/ 115328 h 168199"/>
                    <a:gd name="connsiteX40" fmla="*/ 0 w 338537"/>
                    <a:gd name="connsiteY40" fmla="*/ 109397 h 168199"/>
                    <a:gd name="connsiteX41" fmla="*/ 2857 w 338537"/>
                    <a:gd name="connsiteY41" fmla="*/ 119448 h 168199"/>
                    <a:gd name="connsiteX42" fmla="*/ 16626 w 338537"/>
                    <a:gd name="connsiteY42" fmla="*/ 144974 h 168199"/>
                    <a:gd name="connsiteX43" fmla="*/ 19913 w 338537"/>
                    <a:gd name="connsiteY43" fmla="*/ 146552 h 168199"/>
                    <a:gd name="connsiteX44" fmla="*/ 54902 w 338537"/>
                    <a:gd name="connsiteY44" fmla="*/ 157802 h 168199"/>
                    <a:gd name="connsiteX45" fmla="*/ 59173 w 338537"/>
                    <a:gd name="connsiteY45" fmla="*/ 159757 h 168199"/>
                    <a:gd name="connsiteX46" fmla="*/ 98249 w 338537"/>
                    <a:gd name="connsiteY46" fmla="*/ 167147 h 168199"/>
                    <a:gd name="connsiteX47" fmla="*/ 113777 w 338537"/>
                    <a:gd name="connsiteY47" fmla="*/ 153833 h 168199"/>
                    <a:gd name="connsiteX48" fmla="*/ 113955 w 338537"/>
                    <a:gd name="connsiteY48" fmla="*/ 141255 h 168199"/>
                    <a:gd name="connsiteX49" fmla="*/ 110204 w 338537"/>
                    <a:gd name="connsiteY49" fmla="*/ 133919 h 168199"/>
                    <a:gd name="connsiteX50" fmla="*/ 166084 w 338537"/>
                    <a:gd name="connsiteY50" fmla="*/ 131421 h 168199"/>
                    <a:gd name="connsiteX51" fmla="*/ 172891 w 338537"/>
                    <a:gd name="connsiteY51" fmla="*/ 130449 h 168199"/>
                    <a:gd name="connsiteX52" fmla="*/ 182575 w 338537"/>
                    <a:gd name="connsiteY52" fmla="*/ 113436 h 168199"/>
                    <a:gd name="connsiteX53" fmla="*/ 200936 w 338537"/>
                    <a:gd name="connsiteY53" fmla="*/ 90181 h 168199"/>
                    <a:gd name="connsiteX54" fmla="*/ 208341 w 338537"/>
                    <a:gd name="connsiteY54" fmla="*/ 90199 h 168199"/>
                    <a:gd name="connsiteX55" fmla="*/ 213970 w 338537"/>
                    <a:gd name="connsiteY55" fmla="*/ 89970 h 168199"/>
                    <a:gd name="connsiteX56" fmla="*/ 217102 w 338537"/>
                    <a:gd name="connsiteY56" fmla="*/ 86285 h 168199"/>
                    <a:gd name="connsiteX57" fmla="*/ 220297 w 338537"/>
                    <a:gd name="connsiteY57" fmla="*/ 82042 h 168199"/>
                    <a:gd name="connsiteX58" fmla="*/ 252325 w 338537"/>
                    <a:gd name="connsiteY58" fmla="*/ 80158 h 168199"/>
                    <a:gd name="connsiteX59" fmla="*/ 260024 w 338537"/>
                    <a:gd name="connsiteY59" fmla="*/ 84660 h 168199"/>
                    <a:gd name="connsiteX60" fmla="*/ 275426 w 338537"/>
                    <a:gd name="connsiteY60" fmla="*/ 91826 h 168199"/>
                    <a:gd name="connsiteX61" fmla="*/ 294213 w 338537"/>
                    <a:gd name="connsiteY61" fmla="*/ 89327 h 168199"/>
                    <a:gd name="connsiteX62" fmla="*/ 305095 w 338537"/>
                    <a:gd name="connsiteY62" fmla="*/ 86762 h 168199"/>
                    <a:gd name="connsiteX63" fmla="*/ 325145 w 338537"/>
                    <a:gd name="connsiteY63" fmla="*/ 89487 h 168199"/>
                    <a:gd name="connsiteX64" fmla="*/ 325493 w 338537"/>
                    <a:gd name="connsiteY64" fmla="*/ 88356 h 168199"/>
                    <a:gd name="connsiteX65" fmla="*/ 338538 w 338537"/>
                    <a:gd name="connsiteY65" fmla="*/ 51503 h 168199"/>
                    <a:gd name="connsiteX66" fmla="*/ 299856 w 338537"/>
                    <a:gd name="connsiteY66" fmla="*/ 11657 h 168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</a:cxnLst>
                  <a:rect l="l" t="t" r="r" b="b"/>
                  <a:pathLst>
                    <a:path w="338537" h="168199">
                      <a:moveTo>
                        <a:pt x="299856" y="11657"/>
                      </a:moveTo>
                      <a:cubicBezTo>
                        <a:pt x="299278" y="10430"/>
                        <a:pt x="298585" y="8945"/>
                        <a:pt x="298127" y="8650"/>
                      </a:cubicBezTo>
                      <a:cubicBezTo>
                        <a:pt x="297735" y="8395"/>
                        <a:pt x="296336" y="8310"/>
                        <a:pt x="295311" y="8258"/>
                      </a:cubicBezTo>
                      <a:cubicBezTo>
                        <a:pt x="294360" y="8203"/>
                        <a:pt x="293409" y="8137"/>
                        <a:pt x="292475" y="7999"/>
                      </a:cubicBezTo>
                      <a:cubicBezTo>
                        <a:pt x="288737" y="7448"/>
                        <a:pt x="285550" y="5785"/>
                        <a:pt x="282746" y="4319"/>
                      </a:cubicBezTo>
                      <a:cubicBezTo>
                        <a:pt x="280171" y="2974"/>
                        <a:pt x="277950" y="1812"/>
                        <a:pt x="275858" y="1690"/>
                      </a:cubicBezTo>
                      <a:cubicBezTo>
                        <a:pt x="270559" y="1264"/>
                        <a:pt x="266119" y="7597"/>
                        <a:pt x="261799" y="13599"/>
                      </a:cubicBezTo>
                      <a:lnTo>
                        <a:pt x="260642" y="15211"/>
                      </a:lnTo>
                      <a:cubicBezTo>
                        <a:pt x="256936" y="20295"/>
                        <a:pt x="249835" y="26514"/>
                        <a:pt x="241992" y="27308"/>
                      </a:cubicBezTo>
                      <a:cubicBezTo>
                        <a:pt x="237651" y="27775"/>
                        <a:pt x="233815" y="26491"/>
                        <a:pt x="230744" y="23668"/>
                      </a:cubicBezTo>
                      <a:cubicBezTo>
                        <a:pt x="229690" y="22714"/>
                        <a:pt x="228764" y="21542"/>
                        <a:pt x="227854" y="20370"/>
                      </a:cubicBezTo>
                      <a:cubicBezTo>
                        <a:pt x="227300" y="19639"/>
                        <a:pt x="226453" y="18528"/>
                        <a:pt x="226070" y="18325"/>
                      </a:cubicBezTo>
                      <a:cubicBezTo>
                        <a:pt x="226030" y="18367"/>
                        <a:pt x="225305" y="18528"/>
                        <a:pt x="224820" y="18625"/>
                      </a:cubicBezTo>
                      <a:cubicBezTo>
                        <a:pt x="223348" y="18945"/>
                        <a:pt x="221320" y="19376"/>
                        <a:pt x="219036" y="18907"/>
                      </a:cubicBezTo>
                      <a:cubicBezTo>
                        <a:pt x="213030" y="17617"/>
                        <a:pt x="211233" y="12097"/>
                        <a:pt x="210041" y="8444"/>
                      </a:cubicBezTo>
                      <a:cubicBezTo>
                        <a:pt x="209725" y="7463"/>
                        <a:pt x="209421" y="6484"/>
                        <a:pt x="209011" y="5607"/>
                      </a:cubicBezTo>
                      <a:cubicBezTo>
                        <a:pt x="208259" y="4019"/>
                        <a:pt x="207042" y="2995"/>
                        <a:pt x="205176" y="2389"/>
                      </a:cubicBezTo>
                      <a:cubicBezTo>
                        <a:pt x="200842" y="1004"/>
                        <a:pt x="193750" y="2298"/>
                        <a:pt x="187937" y="5547"/>
                      </a:cubicBezTo>
                      <a:lnTo>
                        <a:pt x="185420" y="6973"/>
                      </a:lnTo>
                      <a:cubicBezTo>
                        <a:pt x="176161" y="12245"/>
                        <a:pt x="164632" y="18825"/>
                        <a:pt x="153298" y="13574"/>
                      </a:cubicBezTo>
                      <a:cubicBezTo>
                        <a:pt x="149229" y="11702"/>
                        <a:pt x="146250" y="8653"/>
                        <a:pt x="143622" y="5974"/>
                      </a:cubicBezTo>
                      <a:cubicBezTo>
                        <a:pt x="142099" y="4425"/>
                        <a:pt x="140594" y="2842"/>
                        <a:pt x="138843" y="1593"/>
                      </a:cubicBezTo>
                      <a:cubicBezTo>
                        <a:pt x="137168" y="415"/>
                        <a:pt x="134341" y="-91"/>
                        <a:pt x="132686" y="513"/>
                      </a:cubicBezTo>
                      <a:lnTo>
                        <a:pt x="130155" y="0"/>
                      </a:lnTo>
                      <a:cubicBezTo>
                        <a:pt x="130826" y="4318"/>
                        <a:pt x="130528" y="8833"/>
                        <a:pt x="128635" y="13419"/>
                      </a:cubicBezTo>
                      <a:cubicBezTo>
                        <a:pt x="125684" y="20557"/>
                        <a:pt x="119982" y="25027"/>
                        <a:pt x="114476" y="29351"/>
                      </a:cubicBezTo>
                      <a:cubicBezTo>
                        <a:pt x="111693" y="31532"/>
                        <a:pt x="109067" y="33589"/>
                        <a:pt x="106917" y="35902"/>
                      </a:cubicBezTo>
                      <a:cubicBezTo>
                        <a:pt x="102937" y="40174"/>
                        <a:pt x="100293" y="45665"/>
                        <a:pt x="97492" y="51478"/>
                      </a:cubicBezTo>
                      <a:cubicBezTo>
                        <a:pt x="95211" y="56211"/>
                        <a:pt x="92850" y="61100"/>
                        <a:pt x="89621" y="65603"/>
                      </a:cubicBezTo>
                      <a:cubicBezTo>
                        <a:pt x="84227" y="73110"/>
                        <a:pt x="75293" y="78358"/>
                        <a:pt x="66862" y="78991"/>
                      </a:cubicBezTo>
                      <a:cubicBezTo>
                        <a:pt x="64664" y="79183"/>
                        <a:pt x="62564" y="79014"/>
                        <a:pt x="60596" y="78562"/>
                      </a:cubicBezTo>
                      <a:cubicBezTo>
                        <a:pt x="60545" y="78697"/>
                        <a:pt x="60494" y="78831"/>
                        <a:pt x="60438" y="78977"/>
                      </a:cubicBezTo>
                      <a:cubicBezTo>
                        <a:pt x="58455" y="84100"/>
                        <a:pt x="53776" y="88739"/>
                        <a:pt x="48237" y="91066"/>
                      </a:cubicBezTo>
                      <a:cubicBezTo>
                        <a:pt x="44714" y="92542"/>
                        <a:pt x="41151" y="93312"/>
                        <a:pt x="37709" y="94052"/>
                      </a:cubicBezTo>
                      <a:cubicBezTo>
                        <a:pt x="34290" y="94792"/>
                        <a:pt x="31064" y="95488"/>
                        <a:pt x="28274" y="96802"/>
                      </a:cubicBezTo>
                      <a:cubicBezTo>
                        <a:pt x="25627" y="98053"/>
                        <a:pt x="23277" y="100646"/>
                        <a:pt x="22555" y="103122"/>
                      </a:cubicBezTo>
                      <a:cubicBezTo>
                        <a:pt x="22045" y="104873"/>
                        <a:pt x="22617" y="105770"/>
                        <a:pt x="22805" y="106068"/>
                      </a:cubicBezTo>
                      <a:lnTo>
                        <a:pt x="25729" y="110681"/>
                      </a:lnTo>
                      <a:lnTo>
                        <a:pt x="21027" y="113457"/>
                      </a:lnTo>
                      <a:cubicBezTo>
                        <a:pt x="18830" y="114766"/>
                        <a:pt x="16614" y="115310"/>
                        <a:pt x="14437" y="115328"/>
                      </a:cubicBezTo>
                      <a:cubicBezTo>
                        <a:pt x="9098" y="115366"/>
                        <a:pt x="4057" y="112252"/>
                        <a:pt x="0" y="109397"/>
                      </a:cubicBezTo>
                      <a:cubicBezTo>
                        <a:pt x="1090" y="112732"/>
                        <a:pt x="1993" y="116144"/>
                        <a:pt x="2857" y="119448"/>
                      </a:cubicBezTo>
                      <a:cubicBezTo>
                        <a:pt x="5780" y="130587"/>
                        <a:pt x="8538" y="141095"/>
                        <a:pt x="16626" y="144974"/>
                      </a:cubicBezTo>
                      <a:lnTo>
                        <a:pt x="19913" y="146552"/>
                      </a:lnTo>
                      <a:cubicBezTo>
                        <a:pt x="32353" y="147678"/>
                        <a:pt x="43824" y="152696"/>
                        <a:pt x="54902" y="157802"/>
                      </a:cubicBezTo>
                      <a:lnTo>
                        <a:pt x="59173" y="159757"/>
                      </a:lnTo>
                      <a:cubicBezTo>
                        <a:pt x="71332" y="165271"/>
                        <a:pt x="85479" y="170492"/>
                        <a:pt x="98249" y="167147"/>
                      </a:cubicBezTo>
                      <a:cubicBezTo>
                        <a:pt x="104834" y="165423"/>
                        <a:pt x="110926" y="160195"/>
                        <a:pt x="113777" y="153833"/>
                      </a:cubicBezTo>
                      <a:cubicBezTo>
                        <a:pt x="115185" y="150690"/>
                        <a:pt x="116359" y="145955"/>
                        <a:pt x="113955" y="141255"/>
                      </a:cubicBezTo>
                      <a:lnTo>
                        <a:pt x="110204" y="133919"/>
                      </a:lnTo>
                      <a:lnTo>
                        <a:pt x="166084" y="131421"/>
                      </a:lnTo>
                      <a:cubicBezTo>
                        <a:pt x="168502" y="131319"/>
                        <a:pt x="170995" y="131209"/>
                        <a:pt x="172891" y="130449"/>
                      </a:cubicBezTo>
                      <a:cubicBezTo>
                        <a:pt x="178077" y="128332"/>
                        <a:pt x="180265" y="121097"/>
                        <a:pt x="182575" y="113436"/>
                      </a:cubicBezTo>
                      <a:cubicBezTo>
                        <a:pt x="185596" y="103432"/>
                        <a:pt x="189019" y="92102"/>
                        <a:pt x="200936" y="90181"/>
                      </a:cubicBezTo>
                      <a:cubicBezTo>
                        <a:pt x="203576" y="89759"/>
                        <a:pt x="206111" y="89998"/>
                        <a:pt x="208341" y="90199"/>
                      </a:cubicBezTo>
                      <a:cubicBezTo>
                        <a:pt x="210720" y="90430"/>
                        <a:pt x="212766" y="90633"/>
                        <a:pt x="213970" y="89970"/>
                      </a:cubicBezTo>
                      <a:cubicBezTo>
                        <a:pt x="215012" y="89415"/>
                        <a:pt x="216029" y="87896"/>
                        <a:pt x="217102" y="86285"/>
                      </a:cubicBezTo>
                      <a:cubicBezTo>
                        <a:pt x="218089" y="84800"/>
                        <a:pt x="219102" y="83323"/>
                        <a:pt x="220297" y="82042"/>
                      </a:cubicBezTo>
                      <a:cubicBezTo>
                        <a:pt x="228917" y="72804"/>
                        <a:pt x="242938" y="75253"/>
                        <a:pt x="252325" y="80158"/>
                      </a:cubicBezTo>
                      <a:cubicBezTo>
                        <a:pt x="254955" y="81523"/>
                        <a:pt x="257488" y="83097"/>
                        <a:pt x="260024" y="84660"/>
                      </a:cubicBezTo>
                      <a:cubicBezTo>
                        <a:pt x="265228" y="87880"/>
                        <a:pt x="270134" y="90925"/>
                        <a:pt x="275426" y="91826"/>
                      </a:cubicBezTo>
                      <a:cubicBezTo>
                        <a:pt x="281351" y="92837"/>
                        <a:pt x="287586" y="91136"/>
                        <a:pt x="294213" y="89327"/>
                      </a:cubicBezTo>
                      <a:cubicBezTo>
                        <a:pt x="297825" y="88348"/>
                        <a:pt x="301449" y="87369"/>
                        <a:pt x="305095" y="86762"/>
                      </a:cubicBezTo>
                      <a:cubicBezTo>
                        <a:pt x="312122" y="85573"/>
                        <a:pt x="319349" y="86688"/>
                        <a:pt x="325145" y="89487"/>
                      </a:cubicBezTo>
                      <a:cubicBezTo>
                        <a:pt x="325261" y="89119"/>
                        <a:pt x="325384" y="88694"/>
                        <a:pt x="325493" y="88356"/>
                      </a:cubicBezTo>
                      <a:cubicBezTo>
                        <a:pt x="329555" y="75956"/>
                        <a:pt x="333986" y="63682"/>
                        <a:pt x="338538" y="51503"/>
                      </a:cubicBezTo>
                      <a:cubicBezTo>
                        <a:pt x="321744" y="42923"/>
                        <a:pt x="307894" y="28784"/>
                        <a:pt x="299856" y="11657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1" name="Forma libre 130">
                  <a:extLst>
                    <a:ext uri="{FF2B5EF4-FFF2-40B4-BE49-F238E27FC236}">
                      <a16:creationId xmlns:a16="http://schemas.microsoft.com/office/drawing/2014/main" id="{B964ACF7-52EC-214B-8B3E-F841F5FE35D4}"/>
                    </a:ext>
                  </a:extLst>
                </p:cNvPr>
                <p:cNvSpPr/>
                <p:nvPr/>
              </p:nvSpPr>
              <p:spPr>
                <a:xfrm>
                  <a:off x="5616681" y="2869960"/>
                  <a:ext cx="376702" cy="227055"/>
                </a:xfrm>
                <a:custGeom>
                  <a:avLst/>
                  <a:gdLst>
                    <a:gd name="connsiteX0" fmla="*/ 21537 w 376702"/>
                    <a:gd name="connsiteY0" fmla="*/ 102578 h 227055"/>
                    <a:gd name="connsiteX1" fmla="*/ 91130 w 376702"/>
                    <a:gd name="connsiteY1" fmla="*/ 211734 h 227055"/>
                    <a:gd name="connsiteX2" fmla="*/ 91948 w 376702"/>
                    <a:gd name="connsiteY2" fmla="*/ 212610 h 227055"/>
                    <a:gd name="connsiteX3" fmla="*/ 93674 w 376702"/>
                    <a:gd name="connsiteY3" fmla="*/ 208798 h 227055"/>
                    <a:gd name="connsiteX4" fmla="*/ 119566 w 376702"/>
                    <a:gd name="connsiteY4" fmla="*/ 216434 h 227055"/>
                    <a:gd name="connsiteX5" fmla="*/ 119685 w 376702"/>
                    <a:gd name="connsiteY5" fmla="*/ 216434 h 227055"/>
                    <a:gd name="connsiteX6" fmla="*/ 137529 w 376702"/>
                    <a:gd name="connsiteY6" fmla="*/ 205068 h 227055"/>
                    <a:gd name="connsiteX7" fmla="*/ 138078 w 376702"/>
                    <a:gd name="connsiteY7" fmla="*/ 197624 h 227055"/>
                    <a:gd name="connsiteX8" fmla="*/ 140048 w 376702"/>
                    <a:gd name="connsiteY8" fmla="*/ 184507 h 227055"/>
                    <a:gd name="connsiteX9" fmla="*/ 155670 w 376702"/>
                    <a:gd name="connsiteY9" fmla="*/ 171739 h 227055"/>
                    <a:gd name="connsiteX10" fmla="*/ 205130 w 376702"/>
                    <a:gd name="connsiteY10" fmla="*/ 184235 h 227055"/>
                    <a:gd name="connsiteX11" fmla="*/ 212364 w 376702"/>
                    <a:gd name="connsiteY11" fmla="*/ 193511 h 227055"/>
                    <a:gd name="connsiteX12" fmla="*/ 226759 w 376702"/>
                    <a:gd name="connsiteY12" fmla="*/ 207336 h 227055"/>
                    <a:gd name="connsiteX13" fmla="*/ 231696 w 376702"/>
                    <a:gd name="connsiteY13" fmla="*/ 208416 h 227055"/>
                    <a:gd name="connsiteX14" fmla="*/ 238593 w 376702"/>
                    <a:gd name="connsiteY14" fmla="*/ 210018 h 227055"/>
                    <a:gd name="connsiteX15" fmla="*/ 249308 w 376702"/>
                    <a:gd name="connsiteY15" fmla="*/ 217694 h 227055"/>
                    <a:gd name="connsiteX16" fmla="*/ 259903 w 376702"/>
                    <a:gd name="connsiteY16" fmla="*/ 221535 h 227055"/>
                    <a:gd name="connsiteX17" fmla="*/ 260978 w 376702"/>
                    <a:gd name="connsiteY17" fmla="*/ 222315 h 227055"/>
                    <a:gd name="connsiteX18" fmla="*/ 268566 w 376702"/>
                    <a:gd name="connsiteY18" fmla="*/ 227056 h 227055"/>
                    <a:gd name="connsiteX19" fmla="*/ 269188 w 376702"/>
                    <a:gd name="connsiteY19" fmla="*/ 223101 h 227055"/>
                    <a:gd name="connsiteX20" fmla="*/ 280566 w 376702"/>
                    <a:gd name="connsiteY20" fmla="*/ 210150 h 227055"/>
                    <a:gd name="connsiteX21" fmla="*/ 292278 w 376702"/>
                    <a:gd name="connsiteY21" fmla="*/ 206639 h 227055"/>
                    <a:gd name="connsiteX22" fmla="*/ 300933 w 376702"/>
                    <a:gd name="connsiteY22" fmla="*/ 204237 h 227055"/>
                    <a:gd name="connsiteX23" fmla="*/ 307360 w 376702"/>
                    <a:gd name="connsiteY23" fmla="*/ 198086 h 227055"/>
                    <a:gd name="connsiteX24" fmla="*/ 307408 w 376702"/>
                    <a:gd name="connsiteY24" fmla="*/ 194972 h 227055"/>
                    <a:gd name="connsiteX25" fmla="*/ 294310 w 376702"/>
                    <a:gd name="connsiteY25" fmla="*/ 166781 h 227055"/>
                    <a:gd name="connsiteX26" fmla="*/ 316005 w 376702"/>
                    <a:gd name="connsiteY26" fmla="*/ 189043 h 227055"/>
                    <a:gd name="connsiteX27" fmla="*/ 322870 w 376702"/>
                    <a:gd name="connsiteY27" fmla="*/ 191360 h 227055"/>
                    <a:gd name="connsiteX28" fmla="*/ 337816 w 376702"/>
                    <a:gd name="connsiteY28" fmla="*/ 182354 h 227055"/>
                    <a:gd name="connsiteX29" fmla="*/ 344749 w 376702"/>
                    <a:gd name="connsiteY29" fmla="*/ 169806 h 227055"/>
                    <a:gd name="connsiteX30" fmla="*/ 355965 w 376702"/>
                    <a:gd name="connsiteY30" fmla="*/ 151613 h 227055"/>
                    <a:gd name="connsiteX31" fmla="*/ 364735 w 376702"/>
                    <a:gd name="connsiteY31" fmla="*/ 143946 h 227055"/>
                    <a:gd name="connsiteX32" fmla="*/ 375642 w 376702"/>
                    <a:gd name="connsiteY32" fmla="*/ 132310 h 227055"/>
                    <a:gd name="connsiteX33" fmla="*/ 359466 w 376702"/>
                    <a:gd name="connsiteY33" fmla="*/ 100005 h 227055"/>
                    <a:gd name="connsiteX34" fmla="*/ 314113 w 376702"/>
                    <a:gd name="connsiteY34" fmla="*/ 62200 h 227055"/>
                    <a:gd name="connsiteX35" fmla="*/ 301402 w 376702"/>
                    <a:gd name="connsiteY35" fmla="*/ 57377 h 227055"/>
                    <a:gd name="connsiteX36" fmla="*/ 290890 w 376702"/>
                    <a:gd name="connsiteY36" fmla="*/ 65309 h 227055"/>
                    <a:gd name="connsiteX37" fmla="*/ 269768 w 376702"/>
                    <a:gd name="connsiteY37" fmla="*/ 75138 h 227055"/>
                    <a:gd name="connsiteX38" fmla="*/ 262633 w 376702"/>
                    <a:gd name="connsiteY38" fmla="*/ 73279 h 227055"/>
                    <a:gd name="connsiteX39" fmla="*/ 266677 w 376702"/>
                    <a:gd name="connsiteY39" fmla="*/ 67110 h 227055"/>
                    <a:gd name="connsiteX40" fmla="*/ 262722 w 376702"/>
                    <a:gd name="connsiteY40" fmla="*/ 63727 h 227055"/>
                    <a:gd name="connsiteX41" fmla="*/ 255035 w 376702"/>
                    <a:gd name="connsiteY41" fmla="*/ 64109 h 227055"/>
                    <a:gd name="connsiteX42" fmla="*/ 247209 w 376702"/>
                    <a:gd name="connsiteY42" fmla="*/ 64752 h 227055"/>
                    <a:gd name="connsiteX43" fmla="*/ 233976 w 376702"/>
                    <a:gd name="connsiteY43" fmla="*/ 58610 h 227055"/>
                    <a:gd name="connsiteX44" fmla="*/ 233236 w 376702"/>
                    <a:gd name="connsiteY44" fmla="*/ 57615 h 227055"/>
                    <a:gd name="connsiteX45" fmla="*/ 212028 w 376702"/>
                    <a:gd name="connsiteY45" fmla="*/ 61043 h 227055"/>
                    <a:gd name="connsiteX46" fmla="*/ 208488 w 376702"/>
                    <a:gd name="connsiteY46" fmla="*/ 60759 h 227055"/>
                    <a:gd name="connsiteX47" fmla="*/ 207410 w 376702"/>
                    <a:gd name="connsiteY47" fmla="*/ 57373 h 227055"/>
                    <a:gd name="connsiteX48" fmla="*/ 203778 w 376702"/>
                    <a:gd name="connsiteY48" fmla="*/ 39150 h 227055"/>
                    <a:gd name="connsiteX49" fmla="*/ 184307 w 376702"/>
                    <a:gd name="connsiteY49" fmla="*/ 42843 h 227055"/>
                    <a:gd name="connsiteX50" fmla="*/ 178499 w 376702"/>
                    <a:gd name="connsiteY50" fmla="*/ 42614 h 227055"/>
                    <a:gd name="connsiteX51" fmla="*/ 179267 w 376702"/>
                    <a:gd name="connsiteY51" fmla="*/ 36850 h 227055"/>
                    <a:gd name="connsiteX52" fmla="*/ 156869 w 376702"/>
                    <a:gd name="connsiteY52" fmla="*/ 0 h 227055"/>
                    <a:gd name="connsiteX53" fmla="*/ 156730 w 376702"/>
                    <a:gd name="connsiteY53" fmla="*/ 772 h 227055"/>
                    <a:gd name="connsiteX54" fmla="*/ 79736 w 376702"/>
                    <a:gd name="connsiteY54" fmla="*/ 29890 h 227055"/>
                    <a:gd name="connsiteX55" fmla="*/ 50981 w 376702"/>
                    <a:gd name="connsiteY55" fmla="*/ 39280 h 227055"/>
                    <a:gd name="connsiteX56" fmla="*/ 0 w 376702"/>
                    <a:gd name="connsiteY56" fmla="*/ 39232 h 227055"/>
                    <a:gd name="connsiteX57" fmla="*/ 3564 w 376702"/>
                    <a:gd name="connsiteY57" fmla="*/ 50464 h 227055"/>
                    <a:gd name="connsiteX58" fmla="*/ 21537 w 376702"/>
                    <a:gd name="connsiteY58" fmla="*/ 102578 h 227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</a:cxnLst>
                  <a:rect l="l" t="t" r="r" b="b"/>
                  <a:pathLst>
                    <a:path w="376702" h="227055">
                      <a:moveTo>
                        <a:pt x="21537" y="102578"/>
                      </a:moveTo>
                      <a:cubicBezTo>
                        <a:pt x="37902" y="143093"/>
                        <a:pt x="61315" y="179820"/>
                        <a:pt x="91130" y="211734"/>
                      </a:cubicBezTo>
                      <a:lnTo>
                        <a:pt x="91948" y="212610"/>
                      </a:lnTo>
                      <a:lnTo>
                        <a:pt x="93674" y="208798"/>
                      </a:lnTo>
                      <a:cubicBezTo>
                        <a:pt x="101660" y="212410"/>
                        <a:pt x="110709" y="216500"/>
                        <a:pt x="119566" y="216434"/>
                      </a:cubicBezTo>
                      <a:cubicBezTo>
                        <a:pt x="119608" y="216434"/>
                        <a:pt x="119644" y="216434"/>
                        <a:pt x="119685" y="216434"/>
                      </a:cubicBezTo>
                      <a:cubicBezTo>
                        <a:pt x="126930" y="216359"/>
                        <a:pt x="135647" y="212343"/>
                        <a:pt x="137529" y="205068"/>
                      </a:cubicBezTo>
                      <a:cubicBezTo>
                        <a:pt x="138088" y="202891"/>
                        <a:pt x="138083" y="200336"/>
                        <a:pt x="138078" y="197624"/>
                      </a:cubicBezTo>
                      <a:cubicBezTo>
                        <a:pt x="138075" y="193560"/>
                        <a:pt x="138065" y="188948"/>
                        <a:pt x="140048" y="184507"/>
                      </a:cubicBezTo>
                      <a:cubicBezTo>
                        <a:pt x="142597" y="178798"/>
                        <a:pt x="147998" y="174381"/>
                        <a:pt x="155670" y="171739"/>
                      </a:cubicBezTo>
                      <a:cubicBezTo>
                        <a:pt x="172647" y="165903"/>
                        <a:pt x="192972" y="171025"/>
                        <a:pt x="205130" y="184235"/>
                      </a:cubicBezTo>
                      <a:cubicBezTo>
                        <a:pt x="207817" y="187154"/>
                        <a:pt x="210125" y="190382"/>
                        <a:pt x="212364" y="193511"/>
                      </a:cubicBezTo>
                      <a:cubicBezTo>
                        <a:pt x="216726" y="199611"/>
                        <a:pt x="220850" y="205372"/>
                        <a:pt x="226759" y="207336"/>
                      </a:cubicBezTo>
                      <a:cubicBezTo>
                        <a:pt x="228363" y="207872"/>
                        <a:pt x="230035" y="208137"/>
                        <a:pt x="231696" y="208416"/>
                      </a:cubicBezTo>
                      <a:cubicBezTo>
                        <a:pt x="234037" y="208811"/>
                        <a:pt x="236367" y="209227"/>
                        <a:pt x="238593" y="210018"/>
                      </a:cubicBezTo>
                      <a:cubicBezTo>
                        <a:pt x="243167" y="211635"/>
                        <a:pt x="246574" y="214375"/>
                        <a:pt x="249308" y="217694"/>
                      </a:cubicBezTo>
                      <a:cubicBezTo>
                        <a:pt x="253251" y="218134"/>
                        <a:pt x="257127" y="219547"/>
                        <a:pt x="259903" y="221535"/>
                      </a:cubicBezTo>
                      <a:lnTo>
                        <a:pt x="260978" y="222315"/>
                      </a:lnTo>
                      <a:cubicBezTo>
                        <a:pt x="263401" y="224074"/>
                        <a:pt x="266189" y="226091"/>
                        <a:pt x="268566" y="227056"/>
                      </a:cubicBezTo>
                      <a:cubicBezTo>
                        <a:pt x="268598" y="225754"/>
                        <a:pt x="268799" y="224426"/>
                        <a:pt x="269188" y="223101"/>
                      </a:cubicBezTo>
                      <a:cubicBezTo>
                        <a:pt x="270734" y="217763"/>
                        <a:pt x="275200" y="212672"/>
                        <a:pt x="280566" y="210150"/>
                      </a:cubicBezTo>
                      <a:cubicBezTo>
                        <a:pt x="284447" y="208323"/>
                        <a:pt x="288426" y="207465"/>
                        <a:pt x="292278" y="206639"/>
                      </a:cubicBezTo>
                      <a:cubicBezTo>
                        <a:pt x="295387" y="205964"/>
                        <a:pt x="298325" y="205331"/>
                        <a:pt x="300933" y="204237"/>
                      </a:cubicBezTo>
                      <a:cubicBezTo>
                        <a:pt x="303780" y="203046"/>
                        <a:pt x="306417" y="200512"/>
                        <a:pt x="307360" y="198086"/>
                      </a:cubicBezTo>
                      <a:cubicBezTo>
                        <a:pt x="308040" y="196323"/>
                        <a:pt x="307566" y="195311"/>
                        <a:pt x="307408" y="194972"/>
                      </a:cubicBezTo>
                      <a:lnTo>
                        <a:pt x="294310" y="166781"/>
                      </a:lnTo>
                      <a:lnTo>
                        <a:pt x="316005" y="189043"/>
                      </a:lnTo>
                      <a:cubicBezTo>
                        <a:pt x="317715" y="190798"/>
                        <a:pt x="320028" y="191599"/>
                        <a:pt x="322870" y="191360"/>
                      </a:cubicBezTo>
                      <a:cubicBezTo>
                        <a:pt x="328137" y="190969"/>
                        <a:pt x="334285" y="187261"/>
                        <a:pt x="337816" y="182354"/>
                      </a:cubicBezTo>
                      <a:cubicBezTo>
                        <a:pt x="340508" y="178610"/>
                        <a:pt x="342565" y="174333"/>
                        <a:pt x="344749" y="169806"/>
                      </a:cubicBezTo>
                      <a:cubicBezTo>
                        <a:pt x="347770" y="163537"/>
                        <a:pt x="350890" y="157060"/>
                        <a:pt x="355965" y="151613"/>
                      </a:cubicBezTo>
                      <a:cubicBezTo>
                        <a:pt x="358673" y="148706"/>
                        <a:pt x="361753" y="146285"/>
                        <a:pt x="364735" y="143946"/>
                      </a:cubicBezTo>
                      <a:cubicBezTo>
                        <a:pt x="369372" y="140312"/>
                        <a:pt x="373753" y="136877"/>
                        <a:pt x="375642" y="132310"/>
                      </a:cubicBezTo>
                      <a:cubicBezTo>
                        <a:pt x="379180" y="123729"/>
                        <a:pt x="373891" y="113157"/>
                        <a:pt x="359466" y="100005"/>
                      </a:cubicBezTo>
                      <a:cubicBezTo>
                        <a:pt x="345089" y="86894"/>
                        <a:pt x="330224" y="73343"/>
                        <a:pt x="314113" y="62200"/>
                      </a:cubicBezTo>
                      <a:cubicBezTo>
                        <a:pt x="309825" y="59231"/>
                        <a:pt x="305289" y="56602"/>
                        <a:pt x="301402" y="57377"/>
                      </a:cubicBezTo>
                      <a:cubicBezTo>
                        <a:pt x="297807" y="58092"/>
                        <a:pt x="294447" y="61597"/>
                        <a:pt x="290890" y="65309"/>
                      </a:cubicBezTo>
                      <a:cubicBezTo>
                        <a:pt x="285657" y="70773"/>
                        <a:pt x="279134" y="77551"/>
                        <a:pt x="269768" y="75138"/>
                      </a:cubicBezTo>
                      <a:lnTo>
                        <a:pt x="262633" y="73279"/>
                      </a:lnTo>
                      <a:lnTo>
                        <a:pt x="266677" y="67110"/>
                      </a:lnTo>
                      <a:cubicBezTo>
                        <a:pt x="266758" y="66354"/>
                        <a:pt x="264936" y="64093"/>
                        <a:pt x="262722" y="63727"/>
                      </a:cubicBezTo>
                      <a:cubicBezTo>
                        <a:pt x="260432" y="63349"/>
                        <a:pt x="257813" y="63722"/>
                        <a:pt x="255035" y="64109"/>
                      </a:cubicBezTo>
                      <a:cubicBezTo>
                        <a:pt x="252425" y="64480"/>
                        <a:pt x="249790" y="64826"/>
                        <a:pt x="247209" y="64752"/>
                      </a:cubicBezTo>
                      <a:cubicBezTo>
                        <a:pt x="242146" y="64625"/>
                        <a:pt x="236952" y="62213"/>
                        <a:pt x="233976" y="58610"/>
                      </a:cubicBezTo>
                      <a:cubicBezTo>
                        <a:pt x="233711" y="58285"/>
                        <a:pt x="233465" y="57957"/>
                        <a:pt x="233236" y="57615"/>
                      </a:cubicBezTo>
                      <a:cubicBezTo>
                        <a:pt x="226576" y="60421"/>
                        <a:pt x="219220" y="61631"/>
                        <a:pt x="212028" y="61043"/>
                      </a:cubicBezTo>
                      <a:lnTo>
                        <a:pt x="208488" y="60759"/>
                      </a:lnTo>
                      <a:lnTo>
                        <a:pt x="207410" y="57373"/>
                      </a:lnTo>
                      <a:cubicBezTo>
                        <a:pt x="205514" y="51425"/>
                        <a:pt x="204299" y="45325"/>
                        <a:pt x="203778" y="39150"/>
                      </a:cubicBezTo>
                      <a:cubicBezTo>
                        <a:pt x="197678" y="41819"/>
                        <a:pt x="190997" y="43088"/>
                        <a:pt x="184307" y="42843"/>
                      </a:cubicBezTo>
                      <a:lnTo>
                        <a:pt x="178499" y="42614"/>
                      </a:lnTo>
                      <a:lnTo>
                        <a:pt x="179267" y="36850"/>
                      </a:lnTo>
                      <a:cubicBezTo>
                        <a:pt x="181292" y="21632"/>
                        <a:pt x="171178" y="5483"/>
                        <a:pt x="156869" y="0"/>
                      </a:cubicBezTo>
                      <a:lnTo>
                        <a:pt x="156730" y="772"/>
                      </a:lnTo>
                      <a:lnTo>
                        <a:pt x="79736" y="29890"/>
                      </a:lnTo>
                      <a:cubicBezTo>
                        <a:pt x="70438" y="33405"/>
                        <a:pt x="60907" y="37007"/>
                        <a:pt x="50981" y="39280"/>
                      </a:cubicBezTo>
                      <a:cubicBezTo>
                        <a:pt x="34168" y="43140"/>
                        <a:pt x="16734" y="43110"/>
                        <a:pt x="0" y="39232"/>
                      </a:cubicBezTo>
                      <a:cubicBezTo>
                        <a:pt x="1198" y="42975"/>
                        <a:pt x="2383" y="46720"/>
                        <a:pt x="3564" y="50464"/>
                      </a:cubicBezTo>
                      <a:cubicBezTo>
                        <a:pt x="9029" y="67738"/>
                        <a:pt x="14680" y="85595"/>
                        <a:pt x="21537" y="10257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2" name="Forma libre 131">
                  <a:extLst>
                    <a:ext uri="{FF2B5EF4-FFF2-40B4-BE49-F238E27FC236}">
                      <a16:creationId xmlns:a16="http://schemas.microsoft.com/office/drawing/2014/main" id="{864A5BE4-C343-7347-BBBD-669663F5CE0E}"/>
                    </a:ext>
                  </a:extLst>
                </p:cNvPr>
                <p:cNvSpPr/>
                <p:nvPr/>
              </p:nvSpPr>
              <p:spPr>
                <a:xfrm>
                  <a:off x="5429828" y="3049860"/>
                  <a:ext cx="449802" cy="215371"/>
                </a:xfrm>
                <a:custGeom>
                  <a:avLst/>
                  <a:gdLst>
                    <a:gd name="connsiteX0" fmla="*/ 241265 w 449802"/>
                    <a:gd name="connsiteY0" fmla="*/ 196210 h 215371"/>
                    <a:gd name="connsiteX1" fmla="*/ 243627 w 449802"/>
                    <a:gd name="connsiteY1" fmla="*/ 193939 h 215371"/>
                    <a:gd name="connsiteX2" fmla="*/ 295746 w 449802"/>
                    <a:gd name="connsiteY2" fmla="*/ 212579 h 215371"/>
                    <a:gd name="connsiteX3" fmla="*/ 311404 w 449802"/>
                    <a:gd name="connsiteY3" fmla="*/ 214707 h 215371"/>
                    <a:gd name="connsiteX4" fmla="*/ 314886 w 449802"/>
                    <a:gd name="connsiteY4" fmla="*/ 209986 h 215371"/>
                    <a:gd name="connsiteX5" fmla="*/ 314421 w 449802"/>
                    <a:gd name="connsiteY5" fmla="*/ 208148 h 215371"/>
                    <a:gd name="connsiteX6" fmla="*/ 289503 w 449802"/>
                    <a:gd name="connsiteY6" fmla="*/ 189666 h 215371"/>
                    <a:gd name="connsiteX7" fmla="*/ 319142 w 449802"/>
                    <a:gd name="connsiteY7" fmla="*/ 198835 h 215371"/>
                    <a:gd name="connsiteX8" fmla="*/ 362658 w 449802"/>
                    <a:gd name="connsiteY8" fmla="*/ 195902 h 215371"/>
                    <a:gd name="connsiteX9" fmla="*/ 368584 w 449802"/>
                    <a:gd name="connsiteY9" fmla="*/ 192889 h 215371"/>
                    <a:gd name="connsiteX10" fmla="*/ 382779 w 449802"/>
                    <a:gd name="connsiteY10" fmla="*/ 186733 h 215371"/>
                    <a:gd name="connsiteX11" fmla="*/ 419566 w 449802"/>
                    <a:gd name="connsiteY11" fmla="*/ 191763 h 215371"/>
                    <a:gd name="connsiteX12" fmla="*/ 436958 w 449802"/>
                    <a:gd name="connsiteY12" fmla="*/ 139629 h 215371"/>
                    <a:gd name="connsiteX13" fmla="*/ 425001 w 449802"/>
                    <a:gd name="connsiteY13" fmla="*/ 127741 h 215371"/>
                    <a:gd name="connsiteX14" fmla="*/ 427181 w 449802"/>
                    <a:gd name="connsiteY14" fmla="*/ 101132 h 215371"/>
                    <a:gd name="connsiteX15" fmla="*/ 428856 w 449802"/>
                    <a:gd name="connsiteY15" fmla="*/ 99610 h 215371"/>
                    <a:gd name="connsiteX16" fmla="*/ 431111 w 449802"/>
                    <a:gd name="connsiteY16" fmla="*/ 99758 h 215371"/>
                    <a:gd name="connsiteX17" fmla="*/ 449802 w 449802"/>
                    <a:gd name="connsiteY17" fmla="*/ 93640 h 215371"/>
                    <a:gd name="connsiteX18" fmla="*/ 436268 w 449802"/>
                    <a:gd name="connsiteY18" fmla="*/ 65173 h 215371"/>
                    <a:gd name="connsiteX19" fmla="*/ 430567 w 449802"/>
                    <a:gd name="connsiteY19" fmla="*/ 48317 h 215371"/>
                    <a:gd name="connsiteX20" fmla="*/ 421473 w 449802"/>
                    <a:gd name="connsiteY20" fmla="*/ 46945 h 215371"/>
                    <a:gd name="connsiteX21" fmla="*/ 424299 w 449802"/>
                    <a:gd name="connsiteY21" fmla="*/ 41279 h 215371"/>
                    <a:gd name="connsiteX22" fmla="*/ 421915 w 449802"/>
                    <a:gd name="connsiteY22" fmla="*/ 40094 h 215371"/>
                    <a:gd name="connsiteX23" fmla="*/ 416793 w 449802"/>
                    <a:gd name="connsiteY23" fmla="*/ 38955 h 215371"/>
                    <a:gd name="connsiteX24" fmla="*/ 410260 w 449802"/>
                    <a:gd name="connsiteY24" fmla="*/ 37482 h 215371"/>
                    <a:gd name="connsiteX25" fmla="*/ 390604 w 449802"/>
                    <a:gd name="connsiteY25" fmla="*/ 19767 h 215371"/>
                    <a:gd name="connsiteX26" fmla="*/ 384191 w 449802"/>
                    <a:gd name="connsiteY26" fmla="*/ 11509 h 215371"/>
                    <a:gd name="connsiteX27" fmla="*/ 345975 w 449802"/>
                    <a:gd name="connsiteY27" fmla="*/ 1845 h 215371"/>
                    <a:gd name="connsiteX28" fmla="*/ 336573 w 449802"/>
                    <a:gd name="connsiteY28" fmla="*/ 8918 h 215371"/>
                    <a:gd name="connsiteX29" fmla="*/ 335521 w 449802"/>
                    <a:gd name="connsiteY29" fmla="*/ 17708 h 215371"/>
                    <a:gd name="connsiteX30" fmla="*/ 334634 w 449802"/>
                    <a:gd name="connsiteY30" fmla="*/ 27819 h 215371"/>
                    <a:gd name="connsiteX31" fmla="*/ 306651 w 449802"/>
                    <a:gd name="connsiteY31" fmla="*/ 47121 h 215371"/>
                    <a:gd name="connsiteX32" fmla="*/ 280637 w 449802"/>
                    <a:gd name="connsiteY32" fmla="*/ 40546 h 215371"/>
                    <a:gd name="connsiteX33" fmla="*/ 230518 w 449802"/>
                    <a:gd name="connsiteY33" fmla="*/ 42118 h 215371"/>
                    <a:gd name="connsiteX34" fmla="*/ 213104 w 449802"/>
                    <a:gd name="connsiteY34" fmla="*/ 64755 h 215371"/>
                    <a:gd name="connsiteX35" fmla="*/ 214772 w 449802"/>
                    <a:gd name="connsiteY35" fmla="*/ 104562 h 215371"/>
                    <a:gd name="connsiteX36" fmla="*/ 213364 w 449802"/>
                    <a:gd name="connsiteY36" fmla="*/ 111471 h 215371"/>
                    <a:gd name="connsiteX37" fmla="*/ 207120 w 449802"/>
                    <a:gd name="connsiteY37" fmla="*/ 108197 h 215371"/>
                    <a:gd name="connsiteX38" fmla="*/ 158901 w 449802"/>
                    <a:gd name="connsiteY38" fmla="*/ 107650 h 215371"/>
                    <a:gd name="connsiteX39" fmla="*/ 140597 w 449802"/>
                    <a:gd name="connsiteY39" fmla="*/ 110868 h 215371"/>
                    <a:gd name="connsiteX40" fmla="*/ 103922 w 449802"/>
                    <a:gd name="connsiteY40" fmla="*/ 111618 h 215371"/>
                    <a:gd name="connsiteX41" fmla="*/ 0 w 449802"/>
                    <a:gd name="connsiteY41" fmla="*/ 108113 h 215371"/>
                    <a:gd name="connsiteX42" fmla="*/ 12080 w 449802"/>
                    <a:gd name="connsiteY42" fmla="*/ 127449 h 215371"/>
                    <a:gd name="connsiteX43" fmla="*/ 15152 w 449802"/>
                    <a:gd name="connsiteY43" fmla="*/ 133767 h 215371"/>
                    <a:gd name="connsiteX44" fmla="*/ 38647 w 449802"/>
                    <a:gd name="connsiteY44" fmla="*/ 162003 h 215371"/>
                    <a:gd name="connsiteX45" fmla="*/ 39808 w 449802"/>
                    <a:gd name="connsiteY45" fmla="*/ 162295 h 215371"/>
                    <a:gd name="connsiteX46" fmla="*/ 47950 w 449802"/>
                    <a:gd name="connsiteY46" fmla="*/ 165811 h 215371"/>
                    <a:gd name="connsiteX47" fmla="*/ 54900 w 449802"/>
                    <a:gd name="connsiteY47" fmla="*/ 155883 h 215371"/>
                    <a:gd name="connsiteX48" fmla="*/ 72612 w 449802"/>
                    <a:gd name="connsiteY48" fmla="*/ 160582 h 215371"/>
                    <a:gd name="connsiteX49" fmla="*/ 77716 w 449802"/>
                    <a:gd name="connsiteY49" fmla="*/ 164031 h 215371"/>
                    <a:gd name="connsiteX50" fmla="*/ 95455 w 449802"/>
                    <a:gd name="connsiteY50" fmla="*/ 159759 h 215371"/>
                    <a:gd name="connsiteX51" fmla="*/ 115727 w 449802"/>
                    <a:gd name="connsiteY51" fmla="*/ 153040 h 215371"/>
                    <a:gd name="connsiteX52" fmla="*/ 116019 w 449802"/>
                    <a:gd name="connsiteY52" fmla="*/ 153038 h 215371"/>
                    <a:gd name="connsiteX53" fmla="*/ 138147 w 449802"/>
                    <a:gd name="connsiteY53" fmla="*/ 161995 h 215371"/>
                    <a:gd name="connsiteX54" fmla="*/ 184668 w 449802"/>
                    <a:gd name="connsiteY54" fmla="*/ 193368 h 215371"/>
                    <a:gd name="connsiteX55" fmla="*/ 194129 w 449802"/>
                    <a:gd name="connsiteY55" fmla="*/ 198095 h 215371"/>
                    <a:gd name="connsiteX56" fmla="*/ 207810 w 449802"/>
                    <a:gd name="connsiteY56" fmla="*/ 195541 h 215371"/>
                    <a:gd name="connsiteX57" fmla="*/ 232868 w 449802"/>
                    <a:gd name="connsiteY57" fmla="*/ 196720 h 215371"/>
                    <a:gd name="connsiteX58" fmla="*/ 236949 w 449802"/>
                    <a:gd name="connsiteY58" fmla="*/ 202187 h 215371"/>
                    <a:gd name="connsiteX59" fmla="*/ 241265 w 449802"/>
                    <a:gd name="connsiteY59" fmla="*/ 196210 h 2153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</a:cxnLst>
                  <a:rect l="l" t="t" r="r" b="b"/>
                  <a:pathLst>
                    <a:path w="449802" h="215371">
                      <a:moveTo>
                        <a:pt x="241265" y="196210"/>
                      </a:moveTo>
                      <a:lnTo>
                        <a:pt x="243627" y="193939"/>
                      </a:lnTo>
                      <a:lnTo>
                        <a:pt x="295746" y="212579"/>
                      </a:lnTo>
                      <a:cubicBezTo>
                        <a:pt x="301538" y="214648"/>
                        <a:pt x="307083" y="216362"/>
                        <a:pt x="311404" y="214707"/>
                      </a:cubicBezTo>
                      <a:cubicBezTo>
                        <a:pt x="313086" y="214063"/>
                        <a:pt x="314611" y="211984"/>
                        <a:pt x="314886" y="209986"/>
                      </a:cubicBezTo>
                      <a:cubicBezTo>
                        <a:pt x="315071" y="208631"/>
                        <a:pt x="314583" y="208270"/>
                        <a:pt x="314421" y="208148"/>
                      </a:cubicBezTo>
                      <a:lnTo>
                        <a:pt x="289503" y="189666"/>
                      </a:lnTo>
                      <a:lnTo>
                        <a:pt x="319142" y="198835"/>
                      </a:lnTo>
                      <a:cubicBezTo>
                        <a:pt x="333328" y="203227"/>
                        <a:pt x="349189" y="202157"/>
                        <a:pt x="362658" y="195902"/>
                      </a:cubicBezTo>
                      <a:cubicBezTo>
                        <a:pt x="364659" y="194967"/>
                        <a:pt x="366621" y="193929"/>
                        <a:pt x="368584" y="192889"/>
                      </a:cubicBezTo>
                      <a:cubicBezTo>
                        <a:pt x="373014" y="190549"/>
                        <a:pt x="377589" y="188126"/>
                        <a:pt x="382779" y="186733"/>
                      </a:cubicBezTo>
                      <a:cubicBezTo>
                        <a:pt x="395224" y="183403"/>
                        <a:pt x="407364" y="186601"/>
                        <a:pt x="419566" y="191763"/>
                      </a:cubicBezTo>
                      <a:cubicBezTo>
                        <a:pt x="416813" y="172930"/>
                        <a:pt x="423361" y="153022"/>
                        <a:pt x="436958" y="139629"/>
                      </a:cubicBezTo>
                      <a:cubicBezTo>
                        <a:pt x="432533" y="136549"/>
                        <a:pt x="428074" y="132766"/>
                        <a:pt x="425001" y="127741"/>
                      </a:cubicBezTo>
                      <a:cubicBezTo>
                        <a:pt x="420311" y="120092"/>
                        <a:pt x="419487" y="108161"/>
                        <a:pt x="427181" y="101132"/>
                      </a:cubicBezTo>
                      <a:lnTo>
                        <a:pt x="428856" y="99610"/>
                      </a:lnTo>
                      <a:lnTo>
                        <a:pt x="431111" y="99758"/>
                      </a:lnTo>
                      <a:cubicBezTo>
                        <a:pt x="437725" y="100287"/>
                        <a:pt x="444611" y="97889"/>
                        <a:pt x="449802" y="93640"/>
                      </a:cubicBezTo>
                      <a:cubicBezTo>
                        <a:pt x="441894" y="86613"/>
                        <a:pt x="438933" y="75332"/>
                        <a:pt x="436268" y="65173"/>
                      </a:cubicBezTo>
                      <a:cubicBezTo>
                        <a:pt x="434586" y="58769"/>
                        <a:pt x="433000" y="52891"/>
                        <a:pt x="430567" y="48317"/>
                      </a:cubicBezTo>
                      <a:lnTo>
                        <a:pt x="421473" y="46945"/>
                      </a:lnTo>
                      <a:cubicBezTo>
                        <a:pt x="421838" y="44700"/>
                        <a:pt x="422847" y="42807"/>
                        <a:pt x="424299" y="41279"/>
                      </a:cubicBezTo>
                      <a:cubicBezTo>
                        <a:pt x="423546" y="40831"/>
                        <a:pt x="422779" y="40402"/>
                        <a:pt x="421915" y="40094"/>
                      </a:cubicBezTo>
                      <a:cubicBezTo>
                        <a:pt x="420265" y="39515"/>
                        <a:pt x="418524" y="39250"/>
                        <a:pt x="416793" y="38955"/>
                      </a:cubicBezTo>
                      <a:cubicBezTo>
                        <a:pt x="414586" y="38587"/>
                        <a:pt x="412380" y="38190"/>
                        <a:pt x="410260" y="37482"/>
                      </a:cubicBezTo>
                      <a:cubicBezTo>
                        <a:pt x="401089" y="34426"/>
                        <a:pt x="395517" y="26640"/>
                        <a:pt x="390604" y="19767"/>
                      </a:cubicBezTo>
                      <a:cubicBezTo>
                        <a:pt x="388555" y="16909"/>
                        <a:pt x="386512" y="14027"/>
                        <a:pt x="384191" y="11509"/>
                      </a:cubicBezTo>
                      <a:cubicBezTo>
                        <a:pt x="374801" y="1308"/>
                        <a:pt x="359076" y="-2670"/>
                        <a:pt x="345975" y="1845"/>
                      </a:cubicBezTo>
                      <a:cubicBezTo>
                        <a:pt x="343218" y="2797"/>
                        <a:pt x="338327" y="4984"/>
                        <a:pt x="336573" y="8918"/>
                      </a:cubicBezTo>
                      <a:cubicBezTo>
                        <a:pt x="335509" y="11295"/>
                        <a:pt x="335516" y="14407"/>
                        <a:pt x="335521" y="17708"/>
                      </a:cubicBezTo>
                      <a:cubicBezTo>
                        <a:pt x="335529" y="20811"/>
                        <a:pt x="335536" y="24329"/>
                        <a:pt x="334634" y="27819"/>
                      </a:cubicBezTo>
                      <a:cubicBezTo>
                        <a:pt x="331398" y="40328"/>
                        <a:pt x="318112" y="47006"/>
                        <a:pt x="306651" y="47121"/>
                      </a:cubicBezTo>
                      <a:cubicBezTo>
                        <a:pt x="297329" y="47512"/>
                        <a:pt x="288570" y="44073"/>
                        <a:pt x="280637" y="40546"/>
                      </a:cubicBezTo>
                      <a:lnTo>
                        <a:pt x="230518" y="42118"/>
                      </a:lnTo>
                      <a:cubicBezTo>
                        <a:pt x="228205" y="51673"/>
                        <a:pt x="221736" y="60068"/>
                        <a:pt x="213104" y="64755"/>
                      </a:cubicBezTo>
                      <a:cubicBezTo>
                        <a:pt x="216878" y="77676"/>
                        <a:pt x="217463" y="91334"/>
                        <a:pt x="214772" y="104562"/>
                      </a:cubicBezTo>
                      <a:lnTo>
                        <a:pt x="213364" y="111471"/>
                      </a:lnTo>
                      <a:lnTo>
                        <a:pt x="207120" y="108197"/>
                      </a:lnTo>
                      <a:cubicBezTo>
                        <a:pt x="193080" y="100805"/>
                        <a:pt x="176473" y="104135"/>
                        <a:pt x="158901" y="107650"/>
                      </a:cubicBezTo>
                      <a:cubicBezTo>
                        <a:pt x="152755" y="108885"/>
                        <a:pt x="146623" y="110110"/>
                        <a:pt x="140597" y="110868"/>
                      </a:cubicBezTo>
                      <a:cubicBezTo>
                        <a:pt x="128233" y="112451"/>
                        <a:pt x="115866" y="112025"/>
                        <a:pt x="103922" y="111618"/>
                      </a:cubicBezTo>
                      <a:lnTo>
                        <a:pt x="0" y="108113"/>
                      </a:lnTo>
                      <a:cubicBezTo>
                        <a:pt x="4589" y="114157"/>
                        <a:pt x="8638" y="120609"/>
                        <a:pt x="12080" y="127449"/>
                      </a:cubicBezTo>
                      <a:cubicBezTo>
                        <a:pt x="13114" y="129500"/>
                        <a:pt x="14128" y="131623"/>
                        <a:pt x="15152" y="133767"/>
                      </a:cubicBezTo>
                      <a:cubicBezTo>
                        <a:pt x="21093" y="146175"/>
                        <a:pt x="27241" y="159016"/>
                        <a:pt x="38647" y="162003"/>
                      </a:cubicBezTo>
                      <a:lnTo>
                        <a:pt x="39808" y="162295"/>
                      </a:lnTo>
                      <a:cubicBezTo>
                        <a:pt x="42147" y="162880"/>
                        <a:pt x="45350" y="163844"/>
                        <a:pt x="47950" y="165811"/>
                      </a:cubicBezTo>
                      <a:cubicBezTo>
                        <a:pt x="48601" y="161823"/>
                        <a:pt x="50337" y="158017"/>
                        <a:pt x="54900" y="155883"/>
                      </a:cubicBezTo>
                      <a:cubicBezTo>
                        <a:pt x="62058" y="152499"/>
                        <a:pt x="68166" y="157169"/>
                        <a:pt x="72612" y="160582"/>
                      </a:cubicBezTo>
                      <a:cubicBezTo>
                        <a:pt x="74432" y="161975"/>
                        <a:pt x="76148" y="163295"/>
                        <a:pt x="77716" y="164031"/>
                      </a:cubicBezTo>
                      <a:cubicBezTo>
                        <a:pt x="82372" y="166240"/>
                        <a:pt x="87520" y="163884"/>
                        <a:pt x="95455" y="159759"/>
                      </a:cubicBezTo>
                      <a:cubicBezTo>
                        <a:pt x="101482" y="156634"/>
                        <a:pt x="108297" y="153096"/>
                        <a:pt x="115727" y="153040"/>
                      </a:cubicBezTo>
                      <a:cubicBezTo>
                        <a:pt x="115821" y="153040"/>
                        <a:pt x="115920" y="153040"/>
                        <a:pt x="116019" y="153038"/>
                      </a:cubicBezTo>
                      <a:cubicBezTo>
                        <a:pt x="124918" y="153084"/>
                        <a:pt x="132564" y="158239"/>
                        <a:pt x="138147" y="161995"/>
                      </a:cubicBezTo>
                      <a:lnTo>
                        <a:pt x="184668" y="193368"/>
                      </a:lnTo>
                      <a:cubicBezTo>
                        <a:pt x="187749" y="195434"/>
                        <a:pt x="190941" y="197584"/>
                        <a:pt x="194129" y="198095"/>
                      </a:cubicBezTo>
                      <a:cubicBezTo>
                        <a:pt x="198050" y="198708"/>
                        <a:pt x="203025" y="197107"/>
                        <a:pt x="207810" y="195541"/>
                      </a:cubicBezTo>
                      <a:cubicBezTo>
                        <a:pt x="215542" y="192981"/>
                        <a:pt x="225196" y="189847"/>
                        <a:pt x="232868" y="196720"/>
                      </a:cubicBezTo>
                      <a:cubicBezTo>
                        <a:pt x="234707" y="198367"/>
                        <a:pt x="235932" y="200278"/>
                        <a:pt x="236949" y="202187"/>
                      </a:cubicBezTo>
                      <a:cubicBezTo>
                        <a:pt x="238066" y="199986"/>
                        <a:pt x="239476" y="197930"/>
                        <a:pt x="241265" y="19621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3" name="Forma libre 132">
                  <a:extLst>
                    <a:ext uri="{FF2B5EF4-FFF2-40B4-BE49-F238E27FC236}">
                      <a16:creationId xmlns:a16="http://schemas.microsoft.com/office/drawing/2014/main" id="{E7B78F6E-AB7C-6A49-A762-4863686A0431}"/>
                    </a:ext>
                  </a:extLst>
                </p:cNvPr>
                <p:cNvSpPr/>
                <p:nvPr/>
              </p:nvSpPr>
              <p:spPr>
                <a:xfrm>
                  <a:off x="5751812" y="2381108"/>
                  <a:ext cx="676114" cy="653251"/>
                </a:xfrm>
                <a:custGeom>
                  <a:avLst/>
                  <a:gdLst>
                    <a:gd name="connsiteX0" fmla="*/ 9840 w 676114"/>
                    <a:gd name="connsiteY0" fmla="*/ 350793 h 653251"/>
                    <a:gd name="connsiteX1" fmla="*/ 13854 w 676114"/>
                    <a:gd name="connsiteY1" fmla="*/ 362560 h 653251"/>
                    <a:gd name="connsiteX2" fmla="*/ 23397 w 676114"/>
                    <a:gd name="connsiteY2" fmla="*/ 478172 h 653251"/>
                    <a:gd name="connsiteX3" fmla="*/ 54979 w 676114"/>
                    <a:gd name="connsiteY3" fmla="*/ 520893 h 653251"/>
                    <a:gd name="connsiteX4" fmla="*/ 70566 w 676114"/>
                    <a:gd name="connsiteY4" fmla="*/ 514791 h 653251"/>
                    <a:gd name="connsiteX5" fmla="*/ 79218 w 676114"/>
                    <a:gd name="connsiteY5" fmla="*/ 508553 h 653251"/>
                    <a:gd name="connsiteX6" fmla="*/ 78957 w 676114"/>
                    <a:gd name="connsiteY6" fmla="*/ 519213 h 653251"/>
                    <a:gd name="connsiteX7" fmla="*/ 81328 w 676114"/>
                    <a:gd name="connsiteY7" fmla="*/ 539442 h 653251"/>
                    <a:gd name="connsiteX8" fmla="*/ 98620 w 676114"/>
                    <a:gd name="connsiteY8" fmla="*/ 534337 h 653251"/>
                    <a:gd name="connsiteX9" fmla="*/ 108519 w 676114"/>
                    <a:gd name="connsiteY9" fmla="*/ 528245 h 653251"/>
                    <a:gd name="connsiteX10" fmla="*/ 106618 w 676114"/>
                    <a:gd name="connsiteY10" fmla="*/ 539714 h 653251"/>
                    <a:gd name="connsiteX11" fmla="*/ 107014 w 676114"/>
                    <a:gd name="connsiteY11" fmla="*/ 540718 h 653251"/>
                    <a:gd name="connsiteX12" fmla="*/ 112352 w 676114"/>
                    <a:gd name="connsiteY12" fmla="*/ 543024 h 653251"/>
                    <a:gd name="connsiteX13" fmla="*/ 118425 w 676114"/>
                    <a:gd name="connsiteY13" fmla="*/ 542479 h 653251"/>
                    <a:gd name="connsiteX14" fmla="*/ 129331 w 676114"/>
                    <a:gd name="connsiteY14" fmla="*/ 542133 h 653251"/>
                    <a:gd name="connsiteX15" fmla="*/ 141131 w 676114"/>
                    <a:gd name="connsiteY15" fmla="*/ 551234 h 653251"/>
                    <a:gd name="connsiteX16" fmla="*/ 141681 w 676114"/>
                    <a:gd name="connsiteY16" fmla="*/ 552751 h 653251"/>
                    <a:gd name="connsiteX17" fmla="*/ 148111 w 676114"/>
                    <a:gd name="connsiteY17" fmla="*/ 546844 h 653251"/>
                    <a:gd name="connsiteX18" fmla="*/ 164206 w 676114"/>
                    <a:gd name="connsiteY18" fmla="*/ 535842 h 653251"/>
                    <a:gd name="connsiteX19" fmla="*/ 185012 w 676114"/>
                    <a:gd name="connsiteY19" fmla="*/ 542340 h 653251"/>
                    <a:gd name="connsiteX20" fmla="*/ 231478 w 676114"/>
                    <a:gd name="connsiteY20" fmla="*/ 581029 h 653251"/>
                    <a:gd name="connsiteX21" fmla="*/ 249144 w 676114"/>
                    <a:gd name="connsiteY21" fmla="*/ 603129 h 653251"/>
                    <a:gd name="connsiteX22" fmla="*/ 250762 w 676114"/>
                    <a:gd name="connsiteY22" fmla="*/ 602335 h 653251"/>
                    <a:gd name="connsiteX23" fmla="*/ 266647 w 676114"/>
                    <a:gd name="connsiteY23" fmla="*/ 604750 h 653251"/>
                    <a:gd name="connsiteX24" fmla="*/ 272859 w 676114"/>
                    <a:gd name="connsiteY24" fmla="*/ 610352 h 653251"/>
                    <a:gd name="connsiteX25" fmla="*/ 279405 w 676114"/>
                    <a:gd name="connsiteY25" fmla="*/ 615752 h 653251"/>
                    <a:gd name="connsiteX26" fmla="*/ 301850 w 676114"/>
                    <a:gd name="connsiteY26" fmla="*/ 609554 h 653251"/>
                    <a:gd name="connsiteX27" fmla="*/ 304440 w 676114"/>
                    <a:gd name="connsiteY27" fmla="*/ 608085 h 653251"/>
                    <a:gd name="connsiteX28" fmla="*/ 330087 w 676114"/>
                    <a:gd name="connsiteY28" fmla="*/ 604097 h 653251"/>
                    <a:gd name="connsiteX29" fmla="*/ 340268 w 676114"/>
                    <a:gd name="connsiteY29" fmla="*/ 612895 h 653251"/>
                    <a:gd name="connsiteX30" fmla="*/ 341788 w 676114"/>
                    <a:gd name="connsiteY30" fmla="*/ 616949 h 653251"/>
                    <a:gd name="connsiteX31" fmla="*/ 343232 w 676114"/>
                    <a:gd name="connsiteY31" fmla="*/ 620495 h 653251"/>
                    <a:gd name="connsiteX32" fmla="*/ 344243 w 676114"/>
                    <a:gd name="connsiteY32" fmla="*/ 620062 h 653251"/>
                    <a:gd name="connsiteX33" fmla="*/ 349753 w 676114"/>
                    <a:gd name="connsiteY33" fmla="*/ 619732 h 653251"/>
                    <a:gd name="connsiteX34" fmla="*/ 357937 w 676114"/>
                    <a:gd name="connsiteY34" fmla="*/ 625711 h 653251"/>
                    <a:gd name="connsiteX35" fmla="*/ 359555 w 676114"/>
                    <a:gd name="connsiteY35" fmla="*/ 627643 h 653251"/>
                    <a:gd name="connsiteX36" fmla="*/ 362603 w 676114"/>
                    <a:gd name="connsiteY36" fmla="*/ 628552 h 653251"/>
                    <a:gd name="connsiteX37" fmla="*/ 373746 w 676114"/>
                    <a:gd name="connsiteY37" fmla="*/ 620762 h 653251"/>
                    <a:gd name="connsiteX38" fmla="*/ 374883 w 676114"/>
                    <a:gd name="connsiteY38" fmla="*/ 619193 h 653251"/>
                    <a:gd name="connsiteX39" fmla="*/ 398115 w 676114"/>
                    <a:gd name="connsiteY39" fmla="*/ 602903 h 653251"/>
                    <a:gd name="connsiteX40" fmla="*/ 409335 w 676114"/>
                    <a:gd name="connsiteY40" fmla="*/ 606718 h 653251"/>
                    <a:gd name="connsiteX41" fmla="*/ 415695 w 676114"/>
                    <a:gd name="connsiteY41" fmla="*/ 609306 h 653251"/>
                    <a:gd name="connsiteX42" fmla="*/ 417597 w 676114"/>
                    <a:gd name="connsiteY42" fmla="*/ 609470 h 653251"/>
                    <a:gd name="connsiteX43" fmla="*/ 425546 w 676114"/>
                    <a:gd name="connsiteY43" fmla="*/ 611540 h 653251"/>
                    <a:gd name="connsiteX44" fmla="*/ 431008 w 676114"/>
                    <a:gd name="connsiteY44" fmla="*/ 618710 h 653251"/>
                    <a:gd name="connsiteX45" fmla="*/ 463953 w 676114"/>
                    <a:gd name="connsiteY45" fmla="*/ 653252 h 653251"/>
                    <a:gd name="connsiteX46" fmla="*/ 480768 w 676114"/>
                    <a:gd name="connsiteY46" fmla="*/ 610517 h 653251"/>
                    <a:gd name="connsiteX47" fmla="*/ 489794 w 676114"/>
                    <a:gd name="connsiteY47" fmla="*/ 587890 h 653251"/>
                    <a:gd name="connsiteX48" fmla="*/ 499435 w 676114"/>
                    <a:gd name="connsiteY48" fmla="*/ 568520 h 653251"/>
                    <a:gd name="connsiteX49" fmla="*/ 522572 w 676114"/>
                    <a:gd name="connsiteY49" fmla="*/ 548015 h 653251"/>
                    <a:gd name="connsiteX50" fmla="*/ 544136 w 676114"/>
                    <a:gd name="connsiteY50" fmla="*/ 528486 h 653251"/>
                    <a:gd name="connsiteX51" fmla="*/ 530187 w 676114"/>
                    <a:gd name="connsiteY51" fmla="*/ 455712 h 653251"/>
                    <a:gd name="connsiteX52" fmla="*/ 520242 w 676114"/>
                    <a:gd name="connsiteY52" fmla="*/ 430172 h 653251"/>
                    <a:gd name="connsiteX53" fmla="*/ 528628 w 676114"/>
                    <a:gd name="connsiteY53" fmla="*/ 413318 h 653251"/>
                    <a:gd name="connsiteX54" fmla="*/ 534914 w 676114"/>
                    <a:gd name="connsiteY54" fmla="*/ 410179 h 653251"/>
                    <a:gd name="connsiteX55" fmla="*/ 513751 w 676114"/>
                    <a:gd name="connsiteY55" fmla="*/ 382572 h 653251"/>
                    <a:gd name="connsiteX56" fmla="*/ 505528 w 676114"/>
                    <a:gd name="connsiteY56" fmla="*/ 378342 h 653251"/>
                    <a:gd name="connsiteX57" fmla="*/ 513341 w 676114"/>
                    <a:gd name="connsiteY57" fmla="*/ 373390 h 653251"/>
                    <a:gd name="connsiteX58" fmla="*/ 527388 w 676114"/>
                    <a:gd name="connsiteY58" fmla="*/ 337762 h 653251"/>
                    <a:gd name="connsiteX59" fmla="*/ 525998 w 676114"/>
                    <a:gd name="connsiteY59" fmla="*/ 333242 h 653251"/>
                    <a:gd name="connsiteX60" fmla="*/ 524017 w 676114"/>
                    <a:gd name="connsiteY60" fmla="*/ 315794 h 653251"/>
                    <a:gd name="connsiteX61" fmla="*/ 527629 w 676114"/>
                    <a:gd name="connsiteY61" fmla="*/ 308014 h 653251"/>
                    <a:gd name="connsiteX62" fmla="*/ 530136 w 676114"/>
                    <a:gd name="connsiteY62" fmla="*/ 302861 h 653251"/>
                    <a:gd name="connsiteX63" fmla="*/ 528557 w 676114"/>
                    <a:gd name="connsiteY63" fmla="*/ 292178 h 653251"/>
                    <a:gd name="connsiteX64" fmla="*/ 507889 w 676114"/>
                    <a:gd name="connsiteY64" fmla="*/ 226935 h 653251"/>
                    <a:gd name="connsiteX65" fmla="*/ 507546 w 676114"/>
                    <a:gd name="connsiteY65" fmla="*/ 226714 h 653251"/>
                    <a:gd name="connsiteX66" fmla="*/ 497404 w 676114"/>
                    <a:gd name="connsiteY66" fmla="*/ 216277 h 653251"/>
                    <a:gd name="connsiteX67" fmla="*/ 484349 w 676114"/>
                    <a:gd name="connsiteY67" fmla="*/ 205116 h 653251"/>
                    <a:gd name="connsiteX68" fmla="*/ 479980 w 676114"/>
                    <a:gd name="connsiteY68" fmla="*/ 204197 h 653251"/>
                    <a:gd name="connsiteX69" fmla="*/ 468757 w 676114"/>
                    <a:gd name="connsiteY69" fmla="*/ 200148 h 653251"/>
                    <a:gd name="connsiteX70" fmla="*/ 461315 w 676114"/>
                    <a:gd name="connsiteY70" fmla="*/ 185714 h 653251"/>
                    <a:gd name="connsiteX71" fmla="*/ 459316 w 676114"/>
                    <a:gd name="connsiteY71" fmla="*/ 130104 h 653251"/>
                    <a:gd name="connsiteX72" fmla="*/ 434004 w 676114"/>
                    <a:gd name="connsiteY72" fmla="*/ 136479 h 653251"/>
                    <a:gd name="connsiteX73" fmla="*/ 428062 w 676114"/>
                    <a:gd name="connsiteY73" fmla="*/ 127712 h 653251"/>
                    <a:gd name="connsiteX74" fmla="*/ 466527 w 676114"/>
                    <a:gd name="connsiteY74" fmla="*/ 120577 h 653251"/>
                    <a:gd name="connsiteX75" fmla="*/ 471355 w 676114"/>
                    <a:gd name="connsiteY75" fmla="*/ 121699 h 653251"/>
                    <a:gd name="connsiteX76" fmla="*/ 470555 w 676114"/>
                    <a:gd name="connsiteY76" fmla="*/ 126592 h 653251"/>
                    <a:gd name="connsiteX77" fmla="*/ 471685 w 676114"/>
                    <a:gd name="connsiteY77" fmla="*/ 183573 h 653251"/>
                    <a:gd name="connsiteX78" fmla="*/ 475254 w 676114"/>
                    <a:gd name="connsiteY78" fmla="*/ 191775 h 653251"/>
                    <a:gd name="connsiteX79" fmla="*/ 481743 w 676114"/>
                    <a:gd name="connsiteY79" fmla="*/ 193753 h 653251"/>
                    <a:gd name="connsiteX80" fmla="*/ 487524 w 676114"/>
                    <a:gd name="connsiteY80" fmla="*/ 195021 h 653251"/>
                    <a:gd name="connsiteX81" fmla="*/ 505538 w 676114"/>
                    <a:gd name="connsiteY81" fmla="*/ 209493 h 653251"/>
                    <a:gd name="connsiteX82" fmla="*/ 513980 w 676114"/>
                    <a:gd name="connsiteY82" fmla="*/ 218305 h 653251"/>
                    <a:gd name="connsiteX83" fmla="*/ 515632 w 676114"/>
                    <a:gd name="connsiteY83" fmla="*/ 219213 h 653251"/>
                    <a:gd name="connsiteX84" fmla="*/ 516468 w 676114"/>
                    <a:gd name="connsiteY84" fmla="*/ 218948 h 653251"/>
                    <a:gd name="connsiteX85" fmla="*/ 516746 w 676114"/>
                    <a:gd name="connsiteY85" fmla="*/ 219826 h 653251"/>
                    <a:gd name="connsiteX86" fmla="*/ 537111 w 676114"/>
                    <a:gd name="connsiteY86" fmla="*/ 220024 h 653251"/>
                    <a:gd name="connsiteX87" fmla="*/ 543588 w 676114"/>
                    <a:gd name="connsiteY87" fmla="*/ 199714 h 653251"/>
                    <a:gd name="connsiteX88" fmla="*/ 540751 w 676114"/>
                    <a:gd name="connsiteY88" fmla="*/ 193877 h 653251"/>
                    <a:gd name="connsiteX89" fmla="*/ 547049 w 676114"/>
                    <a:gd name="connsiteY89" fmla="*/ 192277 h 653251"/>
                    <a:gd name="connsiteX90" fmla="*/ 562263 w 676114"/>
                    <a:gd name="connsiteY90" fmla="*/ 195029 h 653251"/>
                    <a:gd name="connsiteX91" fmla="*/ 567397 w 676114"/>
                    <a:gd name="connsiteY91" fmla="*/ 199768 h 653251"/>
                    <a:gd name="connsiteX92" fmla="*/ 587356 w 676114"/>
                    <a:gd name="connsiteY92" fmla="*/ 193812 h 653251"/>
                    <a:gd name="connsiteX93" fmla="*/ 605996 w 676114"/>
                    <a:gd name="connsiteY93" fmla="*/ 187276 h 653251"/>
                    <a:gd name="connsiteX94" fmla="*/ 609258 w 676114"/>
                    <a:gd name="connsiteY94" fmla="*/ 166840 h 653251"/>
                    <a:gd name="connsiteX95" fmla="*/ 608596 w 676114"/>
                    <a:gd name="connsiteY95" fmla="*/ 162765 h 653251"/>
                    <a:gd name="connsiteX96" fmla="*/ 608446 w 676114"/>
                    <a:gd name="connsiteY96" fmla="*/ 138604 h 653251"/>
                    <a:gd name="connsiteX97" fmla="*/ 621957 w 676114"/>
                    <a:gd name="connsiteY97" fmla="*/ 124048 h 653251"/>
                    <a:gd name="connsiteX98" fmla="*/ 636227 w 676114"/>
                    <a:gd name="connsiteY98" fmla="*/ 124898 h 653251"/>
                    <a:gd name="connsiteX99" fmla="*/ 638649 w 676114"/>
                    <a:gd name="connsiteY99" fmla="*/ 126541 h 653251"/>
                    <a:gd name="connsiteX100" fmla="*/ 640604 w 676114"/>
                    <a:gd name="connsiteY100" fmla="*/ 127782 h 653251"/>
                    <a:gd name="connsiteX101" fmla="*/ 644411 w 676114"/>
                    <a:gd name="connsiteY101" fmla="*/ 126292 h 653251"/>
                    <a:gd name="connsiteX102" fmla="*/ 676114 w 676114"/>
                    <a:gd name="connsiteY102" fmla="*/ 108844 h 653251"/>
                    <a:gd name="connsiteX103" fmla="*/ 665258 w 676114"/>
                    <a:gd name="connsiteY103" fmla="*/ 106521 h 653251"/>
                    <a:gd name="connsiteX104" fmla="*/ 645776 w 676114"/>
                    <a:gd name="connsiteY104" fmla="*/ 98806 h 653251"/>
                    <a:gd name="connsiteX105" fmla="*/ 644013 w 676114"/>
                    <a:gd name="connsiteY105" fmla="*/ 88481 h 653251"/>
                    <a:gd name="connsiteX106" fmla="*/ 648956 w 676114"/>
                    <a:gd name="connsiteY106" fmla="*/ 81384 h 653251"/>
                    <a:gd name="connsiteX107" fmla="*/ 650403 w 676114"/>
                    <a:gd name="connsiteY107" fmla="*/ 79915 h 653251"/>
                    <a:gd name="connsiteX108" fmla="*/ 637442 w 676114"/>
                    <a:gd name="connsiteY108" fmla="*/ 79645 h 653251"/>
                    <a:gd name="connsiteX109" fmla="*/ 647095 w 676114"/>
                    <a:gd name="connsiteY109" fmla="*/ 72643 h 653251"/>
                    <a:gd name="connsiteX110" fmla="*/ 632956 w 676114"/>
                    <a:gd name="connsiteY110" fmla="*/ 58138 h 653251"/>
                    <a:gd name="connsiteX111" fmla="*/ 620543 w 676114"/>
                    <a:gd name="connsiteY111" fmla="*/ 46873 h 653251"/>
                    <a:gd name="connsiteX112" fmla="*/ 616792 w 676114"/>
                    <a:gd name="connsiteY112" fmla="*/ 47087 h 653251"/>
                    <a:gd name="connsiteX113" fmla="*/ 608495 w 676114"/>
                    <a:gd name="connsiteY113" fmla="*/ 46916 h 653251"/>
                    <a:gd name="connsiteX114" fmla="*/ 596856 w 676114"/>
                    <a:gd name="connsiteY114" fmla="*/ 38262 h 653251"/>
                    <a:gd name="connsiteX115" fmla="*/ 596044 w 676114"/>
                    <a:gd name="connsiteY115" fmla="*/ 37323 h 653251"/>
                    <a:gd name="connsiteX116" fmla="*/ 511895 w 676114"/>
                    <a:gd name="connsiteY116" fmla="*/ 3051 h 653251"/>
                    <a:gd name="connsiteX117" fmla="*/ 456960 w 676114"/>
                    <a:gd name="connsiteY117" fmla="*/ 5468 h 653251"/>
                    <a:gd name="connsiteX118" fmla="*/ 449629 w 676114"/>
                    <a:gd name="connsiteY118" fmla="*/ 9686 h 653251"/>
                    <a:gd name="connsiteX119" fmla="*/ 417245 w 676114"/>
                    <a:gd name="connsiteY119" fmla="*/ 16688 h 653251"/>
                    <a:gd name="connsiteX120" fmla="*/ 411194 w 676114"/>
                    <a:gd name="connsiteY120" fmla="*/ 12664 h 653251"/>
                    <a:gd name="connsiteX121" fmla="*/ 406517 w 676114"/>
                    <a:gd name="connsiteY121" fmla="*/ 9596 h 653251"/>
                    <a:gd name="connsiteX122" fmla="*/ 387032 w 676114"/>
                    <a:gd name="connsiteY122" fmla="*/ 17970 h 653251"/>
                    <a:gd name="connsiteX123" fmla="*/ 362138 w 676114"/>
                    <a:gd name="connsiteY123" fmla="*/ 26212 h 653251"/>
                    <a:gd name="connsiteX124" fmla="*/ 432090 w 676114"/>
                    <a:gd name="connsiteY124" fmla="*/ 140917 h 653251"/>
                    <a:gd name="connsiteX125" fmla="*/ 375086 w 676114"/>
                    <a:gd name="connsiteY125" fmla="*/ 144332 h 653251"/>
                    <a:gd name="connsiteX126" fmla="*/ 372714 w 676114"/>
                    <a:gd name="connsiteY126" fmla="*/ 122812 h 653251"/>
                    <a:gd name="connsiteX127" fmla="*/ 357224 w 676114"/>
                    <a:gd name="connsiteY127" fmla="*/ 166916 h 653251"/>
                    <a:gd name="connsiteX128" fmla="*/ 325187 w 676114"/>
                    <a:gd name="connsiteY128" fmla="*/ 137095 h 653251"/>
                    <a:gd name="connsiteX129" fmla="*/ 302516 w 676114"/>
                    <a:gd name="connsiteY129" fmla="*/ 175568 h 653251"/>
                    <a:gd name="connsiteX130" fmla="*/ 296173 w 676114"/>
                    <a:gd name="connsiteY130" fmla="*/ 224235 h 653251"/>
                    <a:gd name="connsiteX131" fmla="*/ 236846 w 676114"/>
                    <a:gd name="connsiteY131" fmla="*/ 182431 h 653251"/>
                    <a:gd name="connsiteX132" fmla="*/ 229673 w 676114"/>
                    <a:gd name="connsiteY132" fmla="*/ 166138 h 653251"/>
                    <a:gd name="connsiteX133" fmla="*/ 218157 w 676114"/>
                    <a:gd name="connsiteY133" fmla="*/ 166390 h 653251"/>
                    <a:gd name="connsiteX134" fmla="*/ 158790 w 676114"/>
                    <a:gd name="connsiteY134" fmla="*/ 182605 h 653251"/>
                    <a:gd name="connsiteX135" fmla="*/ 13023 w 676114"/>
                    <a:gd name="connsiteY135" fmla="*/ 267145 h 653251"/>
                    <a:gd name="connsiteX136" fmla="*/ 11287 w 676114"/>
                    <a:gd name="connsiteY136" fmla="*/ 265673 h 653251"/>
                    <a:gd name="connsiteX137" fmla="*/ 669 w 676114"/>
                    <a:gd name="connsiteY137" fmla="*/ 317584 h 653251"/>
                    <a:gd name="connsiteX138" fmla="*/ 9840 w 676114"/>
                    <a:gd name="connsiteY138" fmla="*/ 350793 h 6532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</a:cxnLst>
                  <a:rect l="l" t="t" r="r" b="b"/>
                  <a:pathLst>
                    <a:path w="676114" h="653251">
                      <a:moveTo>
                        <a:pt x="9840" y="350793"/>
                      </a:moveTo>
                      <a:cubicBezTo>
                        <a:pt x="11208" y="354706"/>
                        <a:pt x="12581" y="358622"/>
                        <a:pt x="13854" y="362560"/>
                      </a:cubicBezTo>
                      <a:cubicBezTo>
                        <a:pt x="25864" y="399753"/>
                        <a:pt x="29052" y="439531"/>
                        <a:pt x="23397" y="478172"/>
                      </a:cubicBezTo>
                      <a:cubicBezTo>
                        <a:pt x="41490" y="483952"/>
                        <a:pt x="54613" y="502027"/>
                        <a:pt x="54979" y="520893"/>
                      </a:cubicBezTo>
                      <a:cubicBezTo>
                        <a:pt x="60576" y="520204"/>
                        <a:pt x="65970" y="518110"/>
                        <a:pt x="70566" y="514791"/>
                      </a:cubicBezTo>
                      <a:lnTo>
                        <a:pt x="79218" y="508553"/>
                      </a:lnTo>
                      <a:lnTo>
                        <a:pt x="78957" y="519213"/>
                      </a:lnTo>
                      <a:cubicBezTo>
                        <a:pt x="78796" y="526056"/>
                        <a:pt x="79592" y="532841"/>
                        <a:pt x="81328" y="539442"/>
                      </a:cubicBezTo>
                      <a:cubicBezTo>
                        <a:pt x="87414" y="539289"/>
                        <a:pt x="93441" y="537527"/>
                        <a:pt x="98620" y="534337"/>
                      </a:cubicBezTo>
                      <a:lnTo>
                        <a:pt x="108519" y="528245"/>
                      </a:lnTo>
                      <a:lnTo>
                        <a:pt x="106618" y="539714"/>
                      </a:lnTo>
                      <a:cubicBezTo>
                        <a:pt x="106595" y="539859"/>
                        <a:pt x="106544" y="540154"/>
                        <a:pt x="107014" y="540718"/>
                      </a:cubicBezTo>
                      <a:cubicBezTo>
                        <a:pt x="108057" y="541984"/>
                        <a:pt x="110351" y="542973"/>
                        <a:pt x="112352" y="543024"/>
                      </a:cubicBezTo>
                      <a:cubicBezTo>
                        <a:pt x="114416" y="543053"/>
                        <a:pt x="116411" y="542762"/>
                        <a:pt x="118425" y="542479"/>
                      </a:cubicBezTo>
                      <a:cubicBezTo>
                        <a:pt x="121706" y="542009"/>
                        <a:pt x="125441" y="541475"/>
                        <a:pt x="129331" y="542133"/>
                      </a:cubicBezTo>
                      <a:cubicBezTo>
                        <a:pt x="134378" y="542975"/>
                        <a:pt x="139121" y="546631"/>
                        <a:pt x="141131" y="551234"/>
                      </a:cubicBezTo>
                      <a:cubicBezTo>
                        <a:pt x="141353" y="551736"/>
                        <a:pt x="141537" y="552240"/>
                        <a:pt x="141681" y="552751"/>
                      </a:cubicBezTo>
                      <a:cubicBezTo>
                        <a:pt x="143435" y="551612"/>
                        <a:pt x="145449" y="549625"/>
                        <a:pt x="148111" y="546844"/>
                      </a:cubicBezTo>
                      <a:cubicBezTo>
                        <a:pt x="152436" y="542329"/>
                        <a:pt x="157343" y="537207"/>
                        <a:pt x="164206" y="535842"/>
                      </a:cubicBezTo>
                      <a:cubicBezTo>
                        <a:pt x="172033" y="534274"/>
                        <a:pt x="179107" y="538250"/>
                        <a:pt x="185012" y="542340"/>
                      </a:cubicBezTo>
                      <a:cubicBezTo>
                        <a:pt x="201706" y="553893"/>
                        <a:pt x="216843" y="567687"/>
                        <a:pt x="231478" y="581029"/>
                      </a:cubicBezTo>
                      <a:cubicBezTo>
                        <a:pt x="235496" y="584695"/>
                        <a:pt x="244439" y="592898"/>
                        <a:pt x="249144" y="603129"/>
                      </a:cubicBezTo>
                      <a:cubicBezTo>
                        <a:pt x="249672" y="602851"/>
                        <a:pt x="250178" y="602546"/>
                        <a:pt x="250762" y="602335"/>
                      </a:cubicBezTo>
                      <a:cubicBezTo>
                        <a:pt x="255702" y="600551"/>
                        <a:pt x="262097" y="601515"/>
                        <a:pt x="266647" y="604750"/>
                      </a:cubicBezTo>
                      <a:cubicBezTo>
                        <a:pt x="269043" y="606459"/>
                        <a:pt x="270983" y="608431"/>
                        <a:pt x="272859" y="610352"/>
                      </a:cubicBezTo>
                      <a:cubicBezTo>
                        <a:pt x="275043" y="612579"/>
                        <a:pt x="277112" y="614694"/>
                        <a:pt x="279405" y="615752"/>
                      </a:cubicBezTo>
                      <a:cubicBezTo>
                        <a:pt x="285800" y="618672"/>
                        <a:pt x="293956" y="614039"/>
                        <a:pt x="301850" y="609554"/>
                      </a:cubicBezTo>
                      <a:lnTo>
                        <a:pt x="304440" y="608085"/>
                      </a:lnTo>
                      <a:cubicBezTo>
                        <a:pt x="310857" y="604509"/>
                        <a:pt x="321435" y="601296"/>
                        <a:pt x="330087" y="604097"/>
                      </a:cubicBezTo>
                      <a:cubicBezTo>
                        <a:pt x="334747" y="605592"/>
                        <a:pt x="338265" y="608629"/>
                        <a:pt x="340268" y="612895"/>
                      </a:cubicBezTo>
                      <a:cubicBezTo>
                        <a:pt x="340857" y="614142"/>
                        <a:pt x="341328" y="615544"/>
                        <a:pt x="341788" y="616949"/>
                      </a:cubicBezTo>
                      <a:cubicBezTo>
                        <a:pt x="342161" y="618093"/>
                        <a:pt x="342784" y="620012"/>
                        <a:pt x="343232" y="620495"/>
                      </a:cubicBezTo>
                      <a:cubicBezTo>
                        <a:pt x="343091" y="620321"/>
                        <a:pt x="343778" y="620170"/>
                        <a:pt x="344243" y="620062"/>
                      </a:cubicBezTo>
                      <a:cubicBezTo>
                        <a:pt x="345648" y="619762"/>
                        <a:pt x="347547" y="619356"/>
                        <a:pt x="349753" y="619732"/>
                      </a:cubicBezTo>
                      <a:cubicBezTo>
                        <a:pt x="353938" y="620497"/>
                        <a:pt x="356245" y="623510"/>
                        <a:pt x="357937" y="625711"/>
                      </a:cubicBezTo>
                      <a:cubicBezTo>
                        <a:pt x="358450" y="626389"/>
                        <a:pt x="358951" y="627089"/>
                        <a:pt x="359555" y="627643"/>
                      </a:cubicBezTo>
                      <a:cubicBezTo>
                        <a:pt x="360117" y="628148"/>
                        <a:pt x="360826" y="628730"/>
                        <a:pt x="362603" y="628552"/>
                      </a:cubicBezTo>
                      <a:cubicBezTo>
                        <a:pt x="366024" y="628205"/>
                        <a:pt x="370715" y="624933"/>
                        <a:pt x="373746" y="620762"/>
                      </a:cubicBezTo>
                      <a:lnTo>
                        <a:pt x="374883" y="619193"/>
                      </a:lnTo>
                      <a:cubicBezTo>
                        <a:pt x="380297" y="611674"/>
                        <a:pt x="386723" y="602399"/>
                        <a:pt x="398115" y="602903"/>
                      </a:cubicBezTo>
                      <a:cubicBezTo>
                        <a:pt x="402492" y="603149"/>
                        <a:pt x="406125" y="605047"/>
                        <a:pt x="409335" y="606718"/>
                      </a:cubicBezTo>
                      <a:cubicBezTo>
                        <a:pt x="411588" y="607902"/>
                        <a:pt x="413726" y="609023"/>
                        <a:pt x="415695" y="609306"/>
                      </a:cubicBezTo>
                      <a:cubicBezTo>
                        <a:pt x="416305" y="609397"/>
                        <a:pt x="416958" y="609432"/>
                        <a:pt x="417597" y="609470"/>
                      </a:cubicBezTo>
                      <a:cubicBezTo>
                        <a:pt x="419915" y="609597"/>
                        <a:pt x="422802" y="609773"/>
                        <a:pt x="425546" y="611540"/>
                      </a:cubicBezTo>
                      <a:cubicBezTo>
                        <a:pt x="428560" y="613484"/>
                        <a:pt x="429970" y="616504"/>
                        <a:pt x="431008" y="618710"/>
                      </a:cubicBezTo>
                      <a:cubicBezTo>
                        <a:pt x="437973" y="633552"/>
                        <a:pt x="449718" y="645692"/>
                        <a:pt x="463953" y="653252"/>
                      </a:cubicBezTo>
                      <a:cubicBezTo>
                        <a:pt x="469476" y="638809"/>
                        <a:pt x="475165" y="624541"/>
                        <a:pt x="480768" y="610517"/>
                      </a:cubicBezTo>
                      <a:lnTo>
                        <a:pt x="489794" y="587890"/>
                      </a:lnTo>
                      <a:cubicBezTo>
                        <a:pt x="492404" y="581355"/>
                        <a:pt x="495104" y="574593"/>
                        <a:pt x="499435" y="568520"/>
                      </a:cubicBezTo>
                      <a:cubicBezTo>
                        <a:pt x="505627" y="559851"/>
                        <a:pt x="514237" y="553834"/>
                        <a:pt x="522572" y="548015"/>
                      </a:cubicBezTo>
                      <a:cubicBezTo>
                        <a:pt x="531071" y="542072"/>
                        <a:pt x="539107" y="536457"/>
                        <a:pt x="544136" y="528486"/>
                      </a:cubicBezTo>
                      <a:cubicBezTo>
                        <a:pt x="554869" y="511453"/>
                        <a:pt x="550176" y="486970"/>
                        <a:pt x="530187" y="455712"/>
                      </a:cubicBezTo>
                      <a:cubicBezTo>
                        <a:pt x="525477" y="448358"/>
                        <a:pt x="520138" y="440019"/>
                        <a:pt x="520242" y="430172"/>
                      </a:cubicBezTo>
                      <a:cubicBezTo>
                        <a:pt x="520297" y="423849"/>
                        <a:pt x="523590" y="417230"/>
                        <a:pt x="528628" y="413318"/>
                      </a:cubicBezTo>
                      <a:cubicBezTo>
                        <a:pt x="530591" y="411793"/>
                        <a:pt x="532724" y="410739"/>
                        <a:pt x="534914" y="410179"/>
                      </a:cubicBezTo>
                      <a:cubicBezTo>
                        <a:pt x="532302" y="398522"/>
                        <a:pt x="524404" y="388050"/>
                        <a:pt x="513751" y="382572"/>
                      </a:cubicBezTo>
                      <a:lnTo>
                        <a:pt x="505528" y="378342"/>
                      </a:lnTo>
                      <a:lnTo>
                        <a:pt x="513341" y="373390"/>
                      </a:lnTo>
                      <a:cubicBezTo>
                        <a:pt x="524768" y="366157"/>
                        <a:pt x="530809" y="350841"/>
                        <a:pt x="527388" y="337762"/>
                      </a:cubicBezTo>
                      <a:cubicBezTo>
                        <a:pt x="526994" y="336261"/>
                        <a:pt x="526498" y="334756"/>
                        <a:pt x="525998" y="333242"/>
                      </a:cubicBezTo>
                      <a:cubicBezTo>
                        <a:pt x="524294" y="328018"/>
                        <a:pt x="522358" y="322095"/>
                        <a:pt x="524017" y="315794"/>
                      </a:cubicBezTo>
                      <a:cubicBezTo>
                        <a:pt x="524811" y="312772"/>
                        <a:pt x="526313" y="310245"/>
                        <a:pt x="527629" y="308014"/>
                      </a:cubicBezTo>
                      <a:cubicBezTo>
                        <a:pt x="528712" y="306191"/>
                        <a:pt x="529734" y="304468"/>
                        <a:pt x="530136" y="302861"/>
                      </a:cubicBezTo>
                      <a:cubicBezTo>
                        <a:pt x="530929" y="299715"/>
                        <a:pt x="529670" y="295711"/>
                        <a:pt x="528557" y="292178"/>
                      </a:cubicBezTo>
                      <a:lnTo>
                        <a:pt x="507889" y="226935"/>
                      </a:lnTo>
                      <a:cubicBezTo>
                        <a:pt x="507780" y="226853"/>
                        <a:pt x="507655" y="226798"/>
                        <a:pt x="507546" y="226714"/>
                      </a:cubicBezTo>
                      <a:cubicBezTo>
                        <a:pt x="503571" y="223682"/>
                        <a:pt x="500441" y="219920"/>
                        <a:pt x="497404" y="216277"/>
                      </a:cubicBezTo>
                      <a:cubicBezTo>
                        <a:pt x="493304" y="211364"/>
                        <a:pt x="489430" y="206717"/>
                        <a:pt x="484349" y="205116"/>
                      </a:cubicBezTo>
                      <a:cubicBezTo>
                        <a:pt x="482941" y="204674"/>
                        <a:pt x="481459" y="204444"/>
                        <a:pt x="479980" y="204197"/>
                      </a:cubicBezTo>
                      <a:cubicBezTo>
                        <a:pt x="476395" y="203593"/>
                        <a:pt x="472316" y="202904"/>
                        <a:pt x="468757" y="200148"/>
                      </a:cubicBezTo>
                      <a:cubicBezTo>
                        <a:pt x="464096" y="196532"/>
                        <a:pt x="462422" y="191074"/>
                        <a:pt x="461315" y="185714"/>
                      </a:cubicBezTo>
                      <a:cubicBezTo>
                        <a:pt x="457515" y="167338"/>
                        <a:pt x="456849" y="148656"/>
                        <a:pt x="459316" y="130104"/>
                      </a:cubicBezTo>
                      <a:cubicBezTo>
                        <a:pt x="450488" y="129235"/>
                        <a:pt x="441330" y="131511"/>
                        <a:pt x="434004" y="136479"/>
                      </a:cubicBezTo>
                      <a:lnTo>
                        <a:pt x="428062" y="127712"/>
                      </a:lnTo>
                      <a:cubicBezTo>
                        <a:pt x="439114" y="120202"/>
                        <a:pt x="453480" y="117510"/>
                        <a:pt x="466527" y="120577"/>
                      </a:cubicBezTo>
                      <a:lnTo>
                        <a:pt x="471355" y="121699"/>
                      </a:lnTo>
                      <a:lnTo>
                        <a:pt x="470555" y="126592"/>
                      </a:lnTo>
                      <a:cubicBezTo>
                        <a:pt x="467417" y="145575"/>
                        <a:pt x="467799" y="164743"/>
                        <a:pt x="471685" y="183573"/>
                      </a:cubicBezTo>
                      <a:cubicBezTo>
                        <a:pt x="472382" y="186939"/>
                        <a:pt x="473297" y="190264"/>
                        <a:pt x="475254" y="191775"/>
                      </a:cubicBezTo>
                      <a:cubicBezTo>
                        <a:pt x="476710" y="192907"/>
                        <a:pt x="479039" y="193296"/>
                        <a:pt x="481743" y="193753"/>
                      </a:cubicBezTo>
                      <a:cubicBezTo>
                        <a:pt x="483701" y="194081"/>
                        <a:pt x="485668" y="194432"/>
                        <a:pt x="487524" y="195021"/>
                      </a:cubicBezTo>
                      <a:cubicBezTo>
                        <a:pt x="495569" y="197549"/>
                        <a:pt x="500642" y="203626"/>
                        <a:pt x="505538" y="209493"/>
                      </a:cubicBezTo>
                      <a:cubicBezTo>
                        <a:pt x="508323" y="212833"/>
                        <a:pt x="510954" y="215989"/>
                        <a:pt x="513980" y="218305"/>
                      </a:cubicBezTo>
                      <a:cubicBezTo>
                        <a:pt x="514485" y="218691"/>
                        <a:pt x="515098" y="218877"/>
                        <a:pt x="515632" y="219213"/>
                      </a:cubicBezTo>
                      <a:lnTo>
                        <a:pt x="516468" y="218948"/>
                      </a:lnTo>
                      <a:lnTo>
                        <a:pt x="516746" y="219826"/>
                      </a:lnTo>
                      <a:cubicBezTo>
                        <a:pt x="523215" y="223367"/>
                        <a:pt x="531292" y="223666"/>
                        <a:pt x="537111" y="220024"/>
                      </a:cubicBezTo>
                      <a:cubicBezTo>
                        <a:pt x="543771" y="215849"/>
                        <a:pt x="546805" y="206356"/>
                        <a:pt x="543588" y="199714"/>
                      </a:cubicBezTo>
                      <a:lnTo>
                        <a:pt x="540751" y="193877"/>
                      </a:lnTo>
                      <a:lnTo>
                        <a:pt x="547049" y="192277"/>
                      </a:lnTo>
                      <a:cubicBezTo>
                        <a:pt x="552034" y="190983"/>
                        <a:pt x="557598" y="192007"/>
                        <a:pt x="562263" y="195029"/>
                      </a:cubicBezTo>
                      <a:cubicBezTo>
                        <a:pt x="564270" y="196338"/>
                        <a:pt x="566007" y="197948"/>
                        <a:pt x="567397" y="199768"/>
                      </a:cubicBezTo>
                      <a:cubicBezTo>
                        <a:pt x="573253" y="195898"/>
                        <a:pt x="580630" y="194808"/>
                        <a:pt x="587356" y="193812"/>
                      </a:cubicBezTo>
                      <a:cubicBezTo>
                        <a:pt x="594867" y="192699"/>
                        <a:pt x="601964" y="191649"/>
                        <a:pt x="605996" y="187276"/>
                      </a:cubicBezTo>
                      <a:cubicBezTo>
                        <a:pt x="609689" y="183286"/>
                        <a:pt x="610747" y="176603"/>
                        <a:pt x="609258" y="166840"/>
                      </a:cubicBezTo>
                      <a:lnTo>
                        <a:pt x="608596" y="162765"/>
                      </a:lnTo>
                      <a:cubicBezTo>
                        <a:pt x="607275" y="154914"/>
                        <a:pt x="605910" y="146799"/>
                        <a:pt x="608446" y="138604"/>
                      </a:cubicBezTo>
                      <a:cubicBezTo>
                        <a:pt x="610436" y="132181"/>
                        <a:pt x="615741" y="126469"/>
                        <a:pt x="621957" y="124048"/>
                      </a:cubicBezTo>
                      <a:cubicBezTo>
                        <a:pt x="626929" y="122118"/>
                        <a:pt x="631999" y="122416"/>
                        <a:pt x="636227" y="124898"/>
                      </a:cubicBezTo>
                      <a:cubicBezTo>
                        <a:pt x="637068" y="125382"/>
                        <a:pt x="637859" y="125962"/>
                        <a:pt x="638649" y="126541"/>
                      </a:cubicBezTo>
                      <a:cubicBezTo>
                        <a:pt x="639348" y="127054"/>
                        <a:pt x="640210" y="127694"/>
                        <a:pt x="640604" y="127782"/>
                      </a:cubicBezTo>
                      <a:cubicBezTo>
                        <a:pt x="641371" y="127969"/>
                        <a:pt x="643586" y="126742"/>
                        <a:pt x="644411" y="126292"/>
                      </a:cubicBezTo>
                      <a:lnTo>
                        <a:pt x="676114" y="108844"/>
                      </a:lnTo>
                      <a:cubicBezTo>
                        <a:pt x="673951" y="107423"/>
                        <a:pt x="669456" y="106308"/>
                        <a:pt x="665258" y="106521"/>
                      </a:cubicBezTo>
                      <a:cubicBezTo>
                        <a:pt x="658588" y="106752"/>
                        <a:pt x="649904" y="104304"/>
                        <a:pt x="645776" y="98806"/>
                      </a:cubicBezTo>
                      <a:cubicBezTo>
                        <a:pt x="643509" y="95782"/>
                        <a:pt x="642881" y="92114"/>
                        <a:pt x="644013" y="88481"/>
                      </a:cubicBezTo>
                      <a:cubicBezTo>
                        <a:pt x="645022" y="85246"/>
                        <a:pt x="647200" y="83105"/>
                        <a:pt x="648956" y="81384"/>
                      </a:cubicBezTo>
                      <a:cubicBezTo>
                        <a:pt x="649449" y="80904"/>
                        <a:pt x="649952" y="80429"/>
                        <a:pt x="650403" y="79915"/>
                      </a:cubicBezTo>
                      <a:lnTo>
                        <a:pt x="637442" y="79645"/>
                      </a:lnTo>
                      <a:lnTo>
                        <a:pt x="647095" y="72643"/>
                      </a:lnTo>
                      <a:cubicBezTo>
                        <a:pt x="640817" y="69356"/>
                        <a:pt x="636620" y="63477"/>
                        <a:pt x="632956" y="58138"/>
                      </a:cubicBezTo>
                      <a:cubicBezTo>
                        <a:pt x="628334" y="51372"/>
                        <a:pt x="625181" y="47237"/>
                        <a:pt x="620543" y="46873"/>
                      </a:cubicBezTo>
                      <a:cubicBezTo>
                        <a:pt x="619292" y="46795"/>
                        <a:pt x="618041" y="46949"/>
                        <a:pt x="616792" y="47087"/>
                      </a:cubicBezTo>
                      <a:cubicBezTo>
                        <a:pt x="614333" y="47364"/>
                        <a:pt x="611512" y="47674"/>
                        <a:pt x="608495" y="46916"/>
                      </a:cubicBezTo>
                      <a:cubicBezTo>
                        <a:pt x="603139" y="45576"/>
                        <a:pt x="599654" y="41522"/>
                        <a:pt x="596856" y="38262"/>
                      </a:cubicBezTo>
                      <a:lnTo>
                        <a:pt x="596044" y="37323"/>
                      </a:lnTo>
                      <a:cubicBezTo>
                        <a:pt x="576754" y="15173"/>
                        <a:pt x="545240" y="8473"/>
                        <a:pt x="511895" y="3051"/>
                      </a:cubicBezTo>
                      <a:cubicBezTo>
                        <a:pt x="490996" y="-335"/>
                        <a:pt x="472456" y="-2503"/>
                        <a:pt x="456960" y="5468"/>
                      </a:cubicBezTo>
                      <a:cubicBezTo>
                        <a:pt x="454538" y="6712"/>
                        <a:pt x="452100" y="8194"/>
                        <a:pt x="449629" y="9686"/>
                      </a:cubicBezTo>
                      <a:cubicBezTo>
                        <a:pt x="439856" y="15588"/>
                        <a:pt x="428788" y="22263"/>
                        <a:pt x="417245" y="16688"/>
                      </a:cubicBezTo>
                      <a:cubicBezTo>
                        <a:pt x="414887" y="15547"/>
                        <a:pt x="412932" y="14015"/>
                        <a:pt x="411194" y="12664"/>
                      </a:cubicBezTo>
                      <a:cubicBezTo>
                        <a:pt x="409562" y="11389"/>
                        <a:pt x="408021" y="10184"/>
                        <a:pt x="406517" y="9596"/>
                      </a:cubicBezTo>
                      <a:cubicBezTo>
                        <a:pt x="400978" y="7410"/>
                        <a:pt x="394125" y="12317"/>
                        <a:pt x="387032" y="17970"/>
                      </a:cubicBezTo>
                      <a:cubicBezTo>
                        <a:pt x="378099" y="25089"/>
                        <a:pt x="369285" y="27896"/>
                        <a:pt x="362138" y="26212"/>
                      </a:cubicBezTo>
                      <a:cubicBezTo>
                        <a:pt x="364745" y="72767"/>
                        <a:pt x="391763" y="117410"/>
                        <a:pt x="432090" y="140917"/>
                      </a:cubicBezTo>
                      <a:cubicBezTo>
                        <a:pt x="413702" y="134182"/>
                        <a:pt x="392537" y="135450"/>
                        <a:pt x="375086" y="144332"/>
                      </a:cubicBezTo>
                      <a:cubicBezTo>
                        <a:pt x="377944" y="137369"/>
                        <a:pt x="377021" y="128983"/>
                        <a:pt x="372714" y="122812"/>
                      </a:cubicBezTo>
                      <a:cubicBezTo>
                        <a:pt x="357969" y="131243"/>
                        <a:pt x="350989" y="151114"/>
                        <a:pt x="357224" y="166916"/>
                      </a:cubicBezTo>
                      <a:cubicBezTo>
                        <a:pt x="340331" y="172589"/>
                        <a:pt x="320738" y="154351"/>
                        <a:pt x="325187" y="137095"/>
                      </a:cubicBezTo>
                      <a:cubicBezTo>
                        <a:pt x="308191" y="135902"/>
                        <a:pt x="300710" y="158627"/>
                        <a:pt x="302516" y="175568"/>
                      </a:cubicBezTo>
                      <a:cubicBezTo>
                        <a:pt x="304323" y="192510"/>
                        <a:pt x="308596" y="212574"/>
                        <a:pt x="296173" y="224235"/>
                      </a:cubicBezTo>
                      <a:cubicBezTo>
                        <a:pt x="271379" y="217982"/>
                        <a:pt x="242212" y="207433"/>
                        <a:pt x="236846" y="182431"/>
                      </a:cubicBezTo>
                      <a:cubicBezTo>
                        <a:pt x="235552" y="176398"/>
                        <a:pt x="235168" y="168935"/>
                        <a:pt x="229673" y="166138"/>
                      </a:cubicBezTo>
                      <a:cubicBezTo>
                        <a:pt x="226167" y="164352"/>
                        <a:pt x="221950" y="165353"/>
                        <a:pt x="218157" y="166390"/>
                      </a:cubicBezTo>
                      <a:cubicBezTo>
                        <a:pt x="198367" y="171794"/>
                        <a:pt x="178580" y="177200"/>
                        <a:pt x="158790" y="182605"/>
                      </a:cubicBezTo>
                      <a:cubicBezTo>
                        <a:pt x="104490" y="197437"/>
                        <a:pt x="56852" y="231823"/>
                        <a:pt x="13023" y="267145"/>
                      </a:cubicBezTo>
                      <a:cubicBezTo>
                        <a:pt x="12392" y="266720"/>
                        <a:pt x="11895" y="266128"/>
                        <a:pt x="11287" y="265673"/>
                      </a:cubicBezTo>
                      <a:cubicBezTo>
                        <a:pt x="2222" y="281110"/>
                        <a:pt x="-1679" y="299867"/>
                        <a:pt x="669" y="317584"/>
                      </a:cubicBezTo>
                      <a:cubicBezTo>
                        <a:pt x="2152" y="328818"/>
                        <a:pt x="5886" y="339490"/>
                        <a:pt x="9840" y="350793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4" name="Forma libre 133">
                  <a:extLst>
                    <a:ext uri="{FF2B5EF4-FFF2-40B4-BE49-F238E27FC236}">
                      <a16:creationId xmlns:a16="http://schemas.microsoft.com/office/drawing/2014/main" id="{E5A59F83-F129-304A-8C6E-F256D51C01FA}"/>
                    </a:ext>
                  </a:extLst>
                </p:cNvPr>
                <p:cNvSpPr/>
                <p:nvPr/>
              </p:nvSpPr>
              <p:spPr>
                <a:xfrm>
                  <a:off x="5670996" y="3245828"/>
                  <a:ext cx="176146" cy="94681"/>
                </a:xfrm>
                <a:custGeom>
                  <a:avLst/>
                  <a:gdLst>
                    <a:gd name="connsiteX0" fmla="*/ 41801 w 176146"/>
                    <a:gd name="connsiteY0" fmla="*/ 93452 h 94681"/>
                    <a:gd name="connsiteX1" fmla="*/ 43299 w 176146"/>
                    <a:gd name="connsiteY1" fmla="*/ 94682 h 94681"/>
                    <a:gd name="connsiteX2" fmla="*/ 44381 w 176146"/>
                    <a:gd name="connsiteY2" fmla="*/ 93411 h 94681"/>
                    <a:gd name="connsiteX3" fmla="*/ 77487 w 176146"/>
                    <a:gd name="connsiteY3" fmla="*/ 86925 h 94681"/>
                    <a:gd name="connsiteX4" fmla="*/ 98274 w 176146"/>
                    <a:gd name="connsiteY4" fmla="*/ 85963 h 94681"/>
                    <a:gd name="connsiteX5" fmla="*/ 118312 w 176146"/>
                    <a:gd name="connsiteY5" fmla="*/ 71394 h 94681"/>
                    <a:gd name="connsiteX6" fmla="*/ 132066 w 176146"/>
                    <a:gd name="connsiteY6" fmla="*/ 55342 h 94681"/>
                    <a:gd name="connsiteX7" fmla="*/ 137089 w 176146"/>
                    <a:gd name="connsiteY7" fmla="*/ 45118 h 94681"/>
                    <a:gd name="connsiteX8" fmla="*/ 158199 w 176146"/>
                    <a:gd name="connsiteY8" fmla="*/ 20239 h 94681"/>
                    <a:gd name="connsiteX9" fmla="*/ 164059 w 176146"/>
                    <a:gd name="connsiteY9" fmla="*/ 18934 h 94681"/>
                    <a:gd name="connsiteX10" fmla="*/ 169542 w 176146"/>
                    <a:gd name="connsiteY10" fmla="*/ 17547 h 94681"/>
                    <a:gd name="connsiteX11" fmla="*/ 176147 w 176146"/>
                    <a:gd name="connsiteY11" fmla="*/ 6373 h 94681"/>
                    <a:gd name="connsiteX12" fmla="*/ 144357 w 176146"/>
                    <a:gd name="connsiteY12" fmla="*/ 991 h 94681"/>
                    <a:gd name="connsiteX13" fmla="*/ 132372 w 176146"/>
                    <a:gd name="connsiteY13" fmla="*/ 6283 h 94681"/>
                    <a:gd name="connsiteX14" fmla="*/ 125951 w 176146"/>
                    <a:gd name="connsiteY14" fmla="*/ 9539 h 94681"/>
                    <a:gd name="connsiteX15" fmla="*/ 84244 w 176146"/>
                    <a:gd name="connsiteY15" fmla="*/ 15188 h 94681"/>
                    <a:gd name="connsiteX16" fmla="*/ 84210 w 176146"/>
                    <a:gd name="connsiteY16" fmla="*/ 15447 h 94681"/>
                    <a:gd name="connsiteX17" fmla="*/ 74046 w 176146"/>
                    <a:gd name="connsiteY17" fmla="*/ 28616 h 94681"/>
                    <a:gd name="connsiteX18" fmla="*/ 66519 w 176146"/>
                    <a:gd name="connsiteY18" fmla="*/ 29997 h 94681"/>
                    <a:gd name="connsiteX19" fmla="*/ 51016 w 176146"/>
                    <a:gd name="connsiteY19" fmla="*/ 26586 h 94681"/>
                    <a:gd name="connsiteX20" fmla="*/ 5524 w 176146"/>
                    <a:gd name="connsiteY20" fmla="*/ 10317 h 94681"/>
                    <a:gd name="connsiteX21" fmla="*/ 3884 w 176146"/>
                    <a:gd name="connsiteY21" fmla="*/ 15833 h 94681"/>
                    <a:gd name="connsiteX22" fmla="*/ 0 w 176146"/>
                    <a:gd name="connsiteY22" fmla="*/ 15694 h 94681"/>
                    <a:gd name="connsiteX23" fmla="*/ 8447 w 176146"/>
                    <a:gd name="connsiteY23" fmla="*/ 58959 h 94681"/>
                    <a:gd name="connsiteX24" fmla="*/ 10986 w 176146"/>
                    <a:gd name="connsiteY24" fmla="*/ 57611 h 94681"/>
                    <a:gd name="connsiteX25" fmla="*/ 15194 w 176146"/>
                    <a:gd name="connsiteY25" fmla="*/ 78635 h 94681"/>
                    <a:gd name="connsiteX26" fmla="*/ 41801 w 176146"/>
                    <a:gd name="connsiteY26" fmla="*/ 93452 h 946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176146" h="94681">
                      <a:moveTo>
                        <a:pt x="41801" y="93452"/>
                      </a:moveTo>
                      <a:cubicBezTo>
                        <a:pt x="42109" y="93740"/>
                        <a:pt x="42951" y="94528"/>
                        <a:pt x="43299" y="94682"/>
                      </a:cubicBezTo>
                      <a:cubicBezTo>
                        <a:pt x="42968" y="94540"/>
                        <a:pt x="43815" y="93861"/>
                        <a:pt x="44381" y="93411"/>
                      </a:cubicBezTo>
                      <a:cubicBezTo>
                        <a:pt x="54745" y="85390"/>
                        <a:pt x="66305" y="86142"/>
                        <a:pt x="77487" y="86925"/>
                      </a:cubicBezTo>
                      <a:cubicBezTo>
                        <a:pt x="84995" y="87418"/>
                        <a:pt x="92087" y="87913"/>
                        <a:pt x="98274" y="85963"/>
                      </a:cubicBezTo>
                      <a:cubicBezTo>
                        <a:pt x="106007" y="83557"/>
                        <a:pt x="112540" y="77095"/>
                        <a:pt x="118312" y="71394"/>
                      </a:cubicBezTo>
                      <a:cubicBezTo>
                        <a:pt x="123348" y="66414"/>
                        <a:pt x="128553" y="61264"/>
                        <a:pt x="132066" y="55342"/>
                      </a:cubicBezTo>
                      <a:cubicBezTo>
                        <a:pt x="133947" y="52185"/>
                        <a:pt x="135511" y="48646"/>
                        <a:pt x="137089" y="45118"/>
                      </a:cubicBezTo>
                      <a:cubicBezTo>
                        <a:pt x="141515" y="35228"/>
                        <a:pt x="146534" y="24008"/>
                        <a:pt x="158199" y="20239"/>
                      </a:cubicBezTo>
                      <a:cubicBezTo>
                        <a:pt x="160093" y="19624"/>
                        <a:pt x="162076" y="19268"/>
                        <a:pt x="164059" y="18934"/>
                      </a:cubicBezTo>
                      <a:cubicBezTo>
                        <a:pt x="166120" y="18598"/>
                        <a:pt x="168069" y="18273"/>
                        <a:pt x="169542" y="17547"/>
                      </a:cubicBezTo>
                      <a:cubicBezTo>
                        <a:pt x="173080" y="15825"/>
                        <a:pt x="174938" y="11469"/>
                        <a:pt x="176147" y="6373"/>
                      </a:cubicBezTo>
                      <a:cubicBezTo>
                        <a:pt x="165093" y="1527"/>
                        <a:pt x="154374" y="-1736"/>
                        <a:pt x="144357" y="991"/>
                      </a:cubicBezTo>
                      <a:cubicBezTo>
                        <a:pt x="140320" y="2076"/>
                        <a:pt x="136462" y="4113"/>
                        <a:pt x="132372" y="6283"/>
                      </a:cubicBezTo>
                      <a:cubicBezTo>
                        <a:pt x="130251" y="7405"/>
                        <a:pt x="128122" y="8528"/>
                        <a:pt x="125951" y="9539"/>
                      </a:cubicBezTo>
                      <a:cubicBezTo>
                        <a:pt x="113053" y="15520"/>
                        <a:pt x="98303" y="17462"/>
                        <a:pt x="84244" y="15188"/>
                      </a:cubicBezTo>
                      <a:cubicBezTo>
                        <a:pt x="84235" y="15272"/>
                        <a:pt x="84218" y="15355"/>
                        <a:pt x="84210" y="15447"/>
                      </a:cubicBezTo>
                      <a:cubicBezTo>
                        <a:pt x="83415" y="21286"/>
                        <a:pt x="79327" y="26582"/>
                        <a:pt x="74046" y="28616"/>
                      </a:cubicBezTo>
                      <a:cubicBezTo>
                        <a:pt x="71550" y="29588"/>
                        <a:pt x="69010" y="29977"/>
                        <a:pt x="66519" y="29997"/>
                      </a:cubicBezTo>
                      <a:cubicBezTo>
                        <a:pt x="60692" y="30040"/>
                        <a:pt x="55116" y="28044"/>
                        <a:pt x="51016" y="26586"/>
                      </a:cubicBezTo>
                      <a:lnTo>
                        <a:pt x="5524" y="10317"/>
                      </a:lnTo>
                      <a:cubicBezTo>
                        <a:pt x="4537" y="11990"/>
                        <a:pt x="3953" y="13919"/>
                        <a:pt x="3884" y="15833"/>
                      </a:cubicBezTo>
                      <a:lnTo>
                        <a:pt x="0" y="15694"/>
                      </a:lnTo>
                      <a:cubicBezTo>
                        <a:pt x="5958" y="30327"/>
                        <a:pt x="10315" y="45208"/>
                        <a:pt x="8447" y="58959"/>
                      </a:cubicBezTo>
                      <a:cubicBezTo>
                        <a:pt x="9283" y="58489"/>
                        <a:pt x="10153" y="58087"/>
                        <a:pt x="10986" y="57611"/>
                      </a:cubicBezTo>
                      <a:cubicBezTo>
                        <a:pt x="16212" y="63552"/>
                        <a:pt x="16815" y="70959"/>
                        <a:pt x="15194" y="78635"/>
                      </a:cubicBezTo>
                      <a:cubicBezTo>
                        <a:pt x="27161" y="79724"/>
                        <a:pt x="37712" y="89594"/>
                        <a:pt x="41801" y="9345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5" name="Forma libre 134">
                  <a:extLst>
                    <a:ext uri="{FF2B5EF4-FFF2-40B4-BE49-F238E27FC236}">
                      <a16:creationId xmlns:a16="http://schemas.microsoft.com/office/drawing/2014/main" id="{1B3035B6-A44C-E549-8DA1-76F80ED2CCA7}"/>
                    </a:ext>
                  </a:extLst>
                </p:cNvPr>
                <p:cNvSpPr/>
                <p:nvPr/>
              </p:nvSpPr>
              <p:spPr>
                <a:xfrm>
                  <a:off x="5803664" y="3367808"/>
                  <a:ext cx="286306" cy="289148"/>
                </a:xfrm>
                <a:custGeom>
                  <a:avLst/>
                  <a:gdLst>
                    <a:gd name="connsiteX0" fmla="*/ 235410 w 286306"/>
                    <a:gd name="connsiteY0" fmla="*/ 283816 h 289148"/>
                    <a:gd name="connsiteX1" fmla="*/ 237469 w 286306"/>
                    <a:gd name="connsiteY1" fmla="*/ 255523 h 289148"/>
                    <a:gd name="connsiteX2" fmla="*/ 234749 w 286306"/>
                    <a:gd name="connsiteY2" fmla="*/ 248552 h 289148"/>
                    <a:gd name="connsiteX3" fmla="*/ 242230 w 286306"/>
                    <a:gd name="connsiteY3" fmla="*/ 248300 h 289148"/>
                    <a:gd name="connsiteX4" fmla="*/ 265879 w 286306"/>
                    <a:gd name="connsiteY4" fmla="*/ 232938 h 289148"/>
                    <a:gd name="connsiteX5" fmla="*/ 282826 w 286306"/>
                    <a:gd name="connsiteY5" fmla="*/ 208175 h 289148"/>
                    <a:gd name="connsiteX6" fmla="*/ 286306 w 286306"/>
                    <a:gd name="connsiteY6" fmla="*/ 202831 h 289148"/>
                    <a:gd name="connsiteX7" fmla="*/ 284712 w 286306"/>
                    <a:gd name="connsiteY7" fmla="*/ 201086 h 289148"/>
                    <a:gd name="connsiteX8" fmla="*/ 278273 w 286306"/>
                    <a:gd name="connsiteY8" fmla="*/ 196139 h 289148"/>
                    <a:gd name="connsiteX9" fmla="*/ 275794 w 286306"/>
                    <a:gd name="connsiteY9" fmla="*/ 196861 h 289148"/>
                    <a:gd name="connsiteX10" fmla="*/ 270851 w 286306"/>
                    <a:gd name="connsiteY10" fmla="*/ 198159 h 289148"/>
                    <a:gd name="connsiteX11" fmla="*/ 256314 w 286306"/>
                    <a:gd name="connsiteY11" fmla="*/ 192052 h 289148"/>
                    <a:gd name="connsiteX12" fmla="*/ 250695 w 286306"/>
                    <a:gd name="connsiteY12" fmla="*/ 188256 h 289148"/>
                    <a:gd name="connsiteX13" fmla="*/ 246523 w 286306"/>
                    <a:gd name="connsiteY13" fmla="*/ 187451 h 289148"/>
                    <a:gd name="connsiteX14" fmla="*/ 238223 w 286306"/>
                    <a:gd name="connsiteY14" fmla="*/ 185247 h 289148"/>
                    <a:gd name="connsiteX15" fmla="*/ 227700 w 286306"/>
                    <a:gd name="connsiteY15" fmla="*/ 167062 h 289148"/>
                    <a:gd name="connsiteX16" fmla="*/ 227187 w 286306"/>
                    <a:gd name="connsiteY16" fmla="*/ 164851 h 289148"/>
                    <a:gd name="connsiteX17" fmla="*/ 222498 w 286306"/>
                    <a:gd name="connsiteY17" fmla="*/ 157004 h 289148"/>
                    <a:gd name="connsiteX18" fmla="*/ 222024 w 286306"/>
                    <a:gd name="connsiteY18" fmla="*/ 156814 h 289148"/>
                    <a:gd name="connsiteX19" fmla="*/ 221095 w 286306"/>
                    <a:gd name="connsiteY19" fmla="*/ 157967 h 289148"/>
                    <a:gd name="connsiteX20" fmla="*/ 187231 w 286306"/>
                    <a:gd name="connsiteY20" fmla="*/ 191472 h 289148"/>
                    <a:gd name="connsiteX21" fmla="*/ 179634 w 286306"/>
                    <a:gd name="connsiteY21" fmla="*/ 199235 h 289148"/>
                    <a:gd name="connsiteX22" fmla="*/ 179749 w 286306"/>
                    <a:gd name="connsiteY22" fmla="*/ 218700 h 289148"/>
                    <a:gd name="connsiteX23" fmla="*/ 180818 w 286306"/>
                    <a:gd name="connsiteY23" fmla="*/ 241458 h 289148"/>
                    <a:gd name="connsiteX24" fmla="*/ 170620 w 286306"/>
                    <a:gd name="connsiteY24" fmla="*/ 238618 h 289148"/>
                    <a:gd name="connsiteX25" fmla="*/ 169397 w 286306"/>
                    <a:gd name="connsiteY25" fmla="*/ 220919 h 289148"/>
                    <a:gd name="connsiteX26" fmla="*/ 170389 w 286306"/>
                    <a:gd name="connsiteY26" fmla="*/ 194072 h 289148"/>
                    <a:gd name="connsiteX27" fmla="*/ 180003 w 286306"/>
                    <a:gd name="connsiteY27" fmla="*/ 183699 h 289148"/>
                    <a:gd name="connsiteX28" fmla="*/ 213037 w 286306"/>
                    <a:gd name="connsiteY28" fmla="*/ 151099 h 289148"/>
                    <a:gd name="connsiteX29" fmla="*/ 223954 w 286306"/>
                    <a:gd name="connsiteY29" fmla="*/ 131707 h 289148"/>
                    <a:gd name="connsiteX30" fmla="*/ 214735 w 286306"/>
                    <a:gd name="connsiteY30" fmla="*/ 104542 h 289148"/>
                    <a:gd name="connsiteX31" fmla="*/ 203733 w 286306"/>
                    <a:gd name="connsiteY31" fmla="*/ 78041 h 289148"/>
                    <a:gd name="connsiteX32" fmla="*/ 206669 w 286306"/>
                    <a:gd name="connsiteY32" fmla="*/ 52876 h 289148"/>
                    <a:gd name="connsiteX33" fmla="*/ 209142 w 286306"/>
                    <a:gd name="connsiteY33" fmla="*/ 40979 h 289148"/>
                    <a:gd name="connsiteX34" fmla="*/ 208942 w 286306"/>
                    <a:gd name="connsiteY34" fmla="*/ 42246 h 289148"/>
                    <a:gd name="connsiteX35" fmla="*/ 180758 w 286306"/>
                    <a:gd name="connsiteY35" fmla="*/ 29251 h 289148"/>
                    <a:gd name="connsiteX36" fmla="*/ 156278 w 286306"/>
                    <a:gd name="connsiteY36" fmla="*/ 17789 h 289148"/>
                    <a:gd name="connsiteX37" fmla="*/ 143463 w 286306"/>
                    <a:gd name="connsiteY37" fmla="*/ 17812 h 289148"/>
                    <a:gd name="connsiteX38" fmla="*/ 136066 w 286306"/>
                    <a:gd name="connsiteY38" fmla="*/ 18189 h 289148"/>
                    <a:gd name="connsiteX39" fmla="*/ 106021 w 286306"/>
                    <a:gd name="connsiteY39" fmla="*/ 14236 h 289148"/>
                    <a:gd name="connsiteX40" fmla="*/ 41882 w 286306"/>
                    <a:gd name="connsiteY40" fmla="*/ 825 h 289148"/>
                    <a:gd name="connsiteX41" fmla="*/ 33480 w 286306"/>
                    <a:gd name="connsiteY41" fmla="*/ 352 h 289148"/>
                    <a:gd name="connsiteX42" fmla="*/ 28504 w 286306"/>
                    <a:gd name="connsiteY42" fmla="*/ 3843 h 289148"/>
                    <a:gd name="connsiteX43" fmla="*/ 26038 w 286306"/>
                    <a:gd name="connsiteY43" fmla="*/ 5920 h 289148"/>
                    <a:gd name="connsiteX44" fmla="*/ 16092 w 286306"/>
                    <a:gd name="connsiteY44" fmla="*/ 12004 h 289148"/>
                    <a:gd name="connsiteX45" fmla="*/ 5749 w 286306"/>
                    <a:gd name="connsiteY45" fmla="*/ 18886 h 289148"/>
                    <a:gd name="connsiteX46" fmla="*/ 77 w 286306"/>
                    <a:gd name="connsiteY46" fmla="*/ 39512 h 289148"/>
                    <a:gd name="connsiteX47" fmla="*/ 30301 w 286306"/>
                    <a:gd name="connsiteY47" fmla="*/ 102709 h 289148"/>
                    <a:gd name="connsiteX48" fmla="*/ 62283 w 286306"/>
                    <a:gd name="connsiteY48" fmla="*/ 165664 h 289148"/>
                    <a:gd name="connsiteX49" fmla="*/ 62447 w 286306"/>
                    <a:gd name="connsiteY49" fmla="*/ 169802 h 289148"/>
                    <a:gd name="connsiteX50" fmla="*/ 91949 w 286306"/>
                    <a:gd name="connsiteY50" fmla="*/ 200836 h 289148"/>
                    <a:gd name="connsiteX51" fmla="*/ 157033 w 286306"/>
                    <a:gd name="connsiteY51" fmla="*/ 240958 h 289148"/>
                    <a:gd name="connsiteX52" fmla="*/ 192831 w 286306"/>
                    <a:gd name="connsiteY52" fmla="*/ 282037 h 289148"/>
                    <a:gd name="connsiteX53" fmla="*/ 239657 w 286306"/>
                    <a:gd name="connsiteY53" fmla="*/ 286239 h 289148"/>
                    <a:gd name="connsiteX54" fmla="*/ 235410 w 286306"/>
                    <a:gd name="connsiteY54" fmla="*/ 283816 h 289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286306" h="289148">
                      <a:moveTo>
                        <a:pt x="235410" y="283816"/>
                      </a:moveTo>
                      <a:cubicBezTo>
                        <a:pt x="240209" y="275394"/>
                        <a:pt x="240997" y="264548"/>
                        <a:pt x="237469" y="255523"/>
                      </a:cubicBezTo>
                      <a:lnTo>
                        <a:pt x="234749" y="248552"/>
                      </a:lnTo>
                      <a:lnTo>
                        <a:pt x="242230" y="248300"/>
                      </a:lnTo>
                      <a:cubicBezTo>
                        <a:pt x="249861" y="248046"/>
                        <a:pt x="257817" y="242876"/>
                        <a:pt x="265879" y="232938"/>
                      </a:cubicBezTo>
                      <a:cubicBezTo>
                        <a:pt x="272125" y="225238"/>
                        <a:pt x="277562" y="216562"/>
                        <a:pt x="282826" y="208175"/>
                      </a:cubicBezTo>
                      <a:cubicBezTo>
                        <a:pt x="283937" y="206403"/>
                        <a:pt x="285074" y="204601"/>
                        <a:pt x="286306" y="202831"/>
                      </a:cubicBezTo>
                      <a:cubicBezTo>
                        <a:pt x="285765" y="202246"/>
                        <a:pt x="285221" y="201659"/>
                        <a:pt x="284712" y="201086"/>
                      </a:cubicBezTo>
                      <a:cubicBezTo>
                        <a:pt x="281889" y="197933"/>
                        <a:pt x="279998" y="196065"/>
                        <a:pt x="278273" y="196139"/>
                      </a:cubicBezTo>
                      <a:cubicBezTo>
                        <a:pt x="277656" y="196184"/>
                        <a:pt x="276754" y="196513"/>
                        <a:pt x="275794" y="196861"/>
                      </a:cubicBezTo>
                      <a:cubicBezTo>
                        <a:pt x="274377" y="197377"/>
                        <a:pt x="272768" y="197959"/>
                        <a:pt x="270851" y="198159"/>
                      </a:cubicBezTo>
                      <a:cubicBezTo>
                        <a:pt x="264581" y="198775"/>
                        <a:pt x="259998" y="195043"/>
                        <a:pt x="256314" y="192052"/>
                      </a:cubicBezTo>
                      <a:cubicBezTo>
                        <a:pt x="254337" y="190442"/>
                        <a:pt x="252476" y="188927"/>
                        <a:pt x="250695" y="188256"/>
                      </a:cubicBezTo>
                      <a:cubicBezTo>
                        <a:pt x="249564" y="187840"/>
                        <a:pt x="248086" y="187646"/>
                        <a:pt x="246523" y="187451"/>
                      </a:cubicBezTo>
                      <a:cubicBezTo>
                        <a:pt x="243960" y="187118"/>
                        <a:pt x="241061" y="186746"/>
                        <a:pt x="238223" y="185247"/>
                      </a:cubicBezTo>
                      <a:cubicBezTo>
                        <a:pt x="230969" y="181434"/>
                        <a:pt x="229155" y="173463"/>
                        <a:pt x="227700" y="167062"/>
                      </a:cubicBezTo>
                      <a:lnTo>
                        <a:pt x="227187" y="164851"/>
                      </a:lnTo>
                      <a:cubicBezTo>
                        <a:pt x="226369" y="161463"/>
                        <a:pt x="224401" y="158170"/>
                        <a:pt x="222498" y="157004"/>
                      </a:cubicBezTo>
                      <a:cubicBezTo>
                        <a:pt x="222312" y="156890"/>
                        <a:pt x="222182" y="156877"/>
                        <a:pt x="222024" y="156814"/>
                      </a:cubicBezTo>
                      <a:cubicBezTo>
                        <a:pt x="221709" y="157192"/>
                        <a:pt x="221414" y="157594"/>
                        <a:pt x="221095" y="157967"/>
                      </a:cubicBezTo>
                      <a:cubicBezTo>
                        <a:pt x="210819" y="170031"/>
                        <a:pt x="199420" y="181307"/>
                        <a:pt x="187231" y="191472"/>
                      </a:cubicBezTo>
                      <a:cubicBezTo>
                        <a:pt x="183884" y="194250"/>
                        <a:pt x="181151" y="196523"/>
                        <a:pt x="179634" y="199235"/>
                      </a:cubicBezTo>
                      <a:cubicBezTo>
                        <a:pt x="176697" y="204491"/>
                        <a:pt x="178109" y="211080"/>
                        <a:pt x="179749" y="218700"/>
                      </a:cubicBezTo>
                      <a:cubicBezTo>
                        <a:pt x="181336" y="226084"/>
                        <a:pt x="182974" y="233725"/>
                        <a:pt x="180818" y="241458"/>
                      </a:cubicBezTo>
                      <a:lnTo>
                        <a:pt x="170620" y="238618"/>
                      </a:lnTo>
                      <a:cubicBezTo>
                        <a:pt x="172076" y="233393"/>
                        <a:pt x="170773" y="227341"/>
                        <a:pt x="169397" y="220919"/>
                      </a:cubicBezTo>
                      <a:cubicBezTo>
                        <a:pt x="167568" y="212432"/>
                        <a:pt x="165501" y="202808"/>
                        <a:pt x="170389" y="194072"/>
                      </a:cubicBezTo>
                      <a:cubicBezTo>
                        <a:pt x="172869" y="189639"/>
                        <a:pt x="176658" y="186485"/>
                        <a:pt x="180003" y="183699"/>
                      </a:cubicBezTo>
                      <a:cubicBezTo>
                        <a:pt x="192180" y="173554"/>
                        <a:pt x="203144" y="162705"/>
                        <a:pt x="213037" y="151099"/>
                      </a:cubicBezTo>
                      <a:cubicBezTo>
                        <a:pt x="217775" y="145540"/>
                        <a:pt x="222917" y="138995"/>
                        <a:pt x="223954" y="131707"/>
                      </a:cubicBezTo>
                      <a:cubicBezTo>
                        <a:pt x="225256" y="122563"/>
                        <a:pt x="220148" y="113812"/>
                        <a:pt x="214735" y="104542"/>
                      </a:cubicBezTo>
                      <a:cubicBezTo>
                        <a:pt x="209943" y="96324"/>
                        <a:pt x="204987" y="87837"/>
                        <a:pt x="203733" y="78041"/>
                      </a:cubicBezTo>
                      <a:cubicBezTo>
                        <a:pt x="202618" y="69281"/>
                        <a:pt x="204676" y="60938"/>
                        <a:pt x="206669" y="52876"/>
                      </a:cubicBezTo>
                      <a:cubicBezTo>
                        <a:pt x="207676" y="48793"/>
                        <a:pt x="208606" y="44844"/>
                        <a:pt x="209142" y="40979"/>
                      </a:cubicBezTo>
                      <a:lnTo>
                        <a:pt x="208942" y="42246"/>
                      </a:lnTo>
                      <a:cubicBezTo>
                        <a:pt x="198266" y="40580"/>
                        <a:pt x="189369" y="34823"/>
                        <a:pt x="180758" y="29251"/>
                      </a:cubicBezTo>
                      <a:cubicBezTo>
                        <a:pt x="172600" y="23974"/>
                        <a:pt x="164888" y="18984"/>
                        <a:pt x="156278" y="17789"/>
                      </a:cubicBezTo>
                      <a:cubicBezTo>
                        <a:pt x="152214" y="17218"/>
                        <a:pt x="147964" y="17520"/>
                        <a:pt x="143463" y="17812"/>
                      </a:cubicBezTo>
                      <a:cubicBezTo>
                        <a:pt x="140997" y="17985"/>
                        <a:pt x="138527" y="18150"/>
                        <a:pt x="136066" y="18189"/>
                      </a:cubicBezTo>
                      <a:cubicBezTo>
                        <a:pt x="125647" y="18361"/>
                        <a:pt x="115723" y="16262"/>
                        <a:pt x="106021" y="14236"/>
                      </a:cubicBezTo>
                      <a:lnTo>
                        <a:pt x="41882" y="825"/>
                      </a:lnTo>
                      <a:cubicBezTo>
                        <a:pt x="39019" y="238"/>
                        <a:pt x="35770" y="-422"/>
                        <a:pt x="33480" y="352"/>
                      </a:cubicBezTo>
                      <a:cubicBezTo>
                        <a:pt x="31874" y="901"/>
                        <a:pt x="30240" y="2330"/>
                        <a:pt x="28504" y="3843"/>
                      </a:cubicBezTo>
                      <a:cubicBezTo>
                        <a:pt x="27692" y="4554"/>
                        <a:pt x="26876" y="5261"/>
                        <a:pt x="26038" y="5920"/>
                      </a:cubicBezTo>
                      <a:cubicBezTo>
                        <a:pt x="22865" y="8426"/>
                        <a:pt x="19419" y="10241"/>
                        <a:pt x="16092" y="12004"/>
                      </a:cubicBezTo>
                      <a:cubicBezTo>
                        <a:pt x="12141" y="14092"/>
                        <a:pt x="8407" y="16064"/>
                        <a:pt x="5749" y="18886"/>
                      </a:cubicBezTo>
                      <a:cubicBezTo>
                        <a:pt x="420" y="24543"/>
                        <a:pt x="-276" y="33225"/>
                        <a:pt x="77" y="39512"/>
                      </a:cubicBezTo>
                      <a:cubicBezTo>
                        <a:pt x="1372" y="62753"/>
                        <a:pt x="15425" y="82155"/>
                        <a:pt x="30301" y="102709"/>
                      </a:cubicBezTo>
                      <a:cubicBezTo>
                        <a:pt x="44233" y="121946"/>
                        <a:pt x="58635" y="141841"/>
                        <a:pt x="62283" y="165664"/>
                      </a:cubicBezTo>
                      <a:cubicBezTo>
                        <a:pt x="62511" y="167143"/>
                        <a:pt x="62478" y="168475"/>
                        <a:pt x="62447" y="169802"/>
                      </a:cubicBezTo>
                      <a:cubicBezTo>
                        <a:pt x="78329" y="173912"/>
                        <a:pt x="94439" y="185193"/>
                        <a:pt x="91949" y="200836"/>
                      </a:cubicBezTo>
                      <a:cubicBezTo>
                        <a:pt x="109915" y="221202"/>
                        <a:pt x="131627" y="231356"/>
                        <a:pt x="157033" y="240958"/>
                      </a:cubicBezTo>
                      <a:cubicBezTo>
                        <a:pt x="176532" y="248331"/>
                        <a:pt x="203044" y="263864"/>
                        <a:pt x="192831" y="282037"/>
                      </a:cubicBezTo>
                      <a:cubicBezTo>
                        <a:pt x="206986" y="289772"/>
                        <a:pt x="224335" y="291236"/>
                        <a:pt x="239657" y="286239"/>
                      </a:cubicBezTo>
                      <a:lnTo>
                        <a:pt x="235410" y="283816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6" name="Forma libre 135">
                  <a:extLst>
                    <a:ext uri="{FF2B5EF4-FFF2-40B4-BE49-F238E27FC236}">
                      <a16:creationId xmlns:a16="http://schemas.microsoft.com/office/drawing/2014/main" id="{EEDB854B-619E-D34C-825B-4150F3076BE8}"/>
                    </a:ext>
                  </a:extLst>
                </p:cNvPr>
                <p:cNvSpPr/>
                <p:nvPr/>
              </p:nvSpPr>
              <p:spPr>
                <a:xfrm>
                  <a:off x="5665160" y="3250710"/>
                  <a:ext cx="347850" cy="284946"/>
                </a:xfrm>
                <a:custGeom>
                  <a:avLst/>
                  <a:gdLst>
                    <a:gd name="connsiteX0" fmla="*/ 190323 w 347850"/>
                    <a:gd name="connsiteY0" fmla="*/ 284371 h 284946"/>
                    <a:gd name="connsiteX1" fmla="*/ 160227 w 347850"/>
                    <a:gd name="connsiteY1" fmla="*/ 226014 h 284946"/>
                    <a:gd name="connsiteX2" fmla="*/ 128004 w 347850"/>
                    <a:gd name="connsiteY2" fmla="*/ 157206 h 284946"/>
                    <a:gd name="connsiteX3" fmla="*/ 136548 w 347850"/>
                    <a:gd name="connsiteY3" fmla="*/ 128721 h 284946"/>
                    <a:gd name="connsiteX4" fmla="*/ 149651 w 347850"/>
                    <a:gd name="connsiteY4" fmla="*/ 119738 h 284946"/>
                    <a:gd name="connsiteX5" fmla="*/ 157987 w 347850"/>
                    <a:gd name="connsiteY5" fmla="*/ 114710 h 284946"/>
                    <a:gd name="connsiteX6" fmla="*/ 160052 w 347850"/>
                    <a:gd name="connsiteY6" fmla="*/ 112958 h 284946"/>
                    <a:gd name="connsiteX7" fmla="*/ 168536 w 347850"/>
                    <a:gd name="connsiteY7" fmla="*/ 107443 h 284946"/>
                    <a:gd name="connsiteX8" fmla="*/ 182545 w 347850"/>
                    <a:gd name="connsiteY8" fmla="*/ 107555 h 284946"/>
                    <a:gd name="connsiteX9" fmla="*/ 246695 w 347850"/>
                    <a:gd name="connsiteY9" fmla="*/ 120976 h 284946"/>
                    <a:gd name="connsiteX10" fmla="*/ 274406 w 347850"/>
                    <a:gd name="connsiteY10" fmla="*/ 124699 h 284946"/>
                    <a:gd name="connsiteX11" fmla="*/ 281244 w 347850"/>
                    <a:gd name="connsiteY11" fmla="*/ 124348 h 284946"/>
                    <a:gd name="connsiteX12" fmla="*/ 296248 w 347850"/>
                    <a:gd name="connsiteY12" fmla="*/ 124390 h 284946"/>
                    <a:gd name="connsiteX13" fmla="*/ 325022 w 347850"/>
                    <a:gd name="connsiteY13" fmla="*/ 137465 h 284946"/>
                    <a:gd name="connsiteX14" fmla="*/ 347851 w 347850"/>
                    <a:gd name="connsiteY14" fmla="*/ 148568 h 284946"/>
                    <a:gd name="connsiteX15" fmla="*/ 340951 w 347850"/>
                    <a:gd name="connsiteY15" fmla="*/ 130033 h 284946"/>
                    <a:gd name="connsiteX16" fmla="*/ 334721 w 347850"/>
                    <a:gd name="connsiteY16" fmla="*/ 115765 h 284946"/>
                    <a:gd name="connsiteX17" fmla="*/ 338093 w 347850"/>
                    <a:gd name="connsiteY17" fmla="*/ 62710 h 284946"/>
                    <a:gd name="connsiteX18" fmla="*/ 330088 w 347850"/>
                    <a:gd name="connsiteY18" fmla="*/ 67209 h 284946"/>
                    <a:gd name="connsiteX19" fmla="*/ 322877 w 347850"/>
                    <a:gd name="connsiteY19" fmla="*/ 78206 h 284946"/>
                    <a:gd name="connsiteX20" fmla="*/ 305846 w 347850"/>
                    <a:gd name="connsiteY20" fmla="*/ 83506 h 284946"/>
                    <a:gd name="connsiteX21" fmla="*/ 297885 w 347850"/>
                    <a:gd name="connsiteY21" fmla="*/ 82510 h 284946"/>
                    <a:gd name="connsiteX22" fmla="*/ 282465 w 347850"/>
                    <a:gd name="connsiteY22" fmla="*/ 76027 h 284946"/>
                    <a:gd name="connsiteX23" fmla="*/ 267284 w 347850"/>
                    <a:gd name="connsiteY23" fmla="*/ 69904 h 284946"/>
                    <a:gd name="connsiteX24" fmla="*/ 258893 w 347850"/>
                    <a:gd name="connsiteY24" fmla="*/ 68892 h 284946"/>
                    <a:gd name="connsiteX25" fmla="*/ 236588 w 347850"/>
                    <a:gd name="connsiteY25" fmla="*/ 61343 h 284946"/>
                    <a:gd name="connsiteX26" fmla="*/ 230477 w 347850"/>
                    <a:gd name="connsiteY26" fmla="*/ 51831 h 284946"/>
                    <a:gd name="connsiteX27" fmla="*/ 215125 w 347850"/>
                    <a:gd name="connsiteY27" fmla="*/ 20203 h 284946"/>
                    <a:gd name="connsiteX28" fmla="*/ 204263 w 347850"/>
                    <a:gd name="connsiteY28" fmla="*/ 3569 h 284946"/>
                    <a:gd name="connsiteX29" fmla="*/ 197557 w 347850"/>
                    <a:gd name="connsiteY29" fmla="*/ 0 h 284946"/>
                    <a:gd name="connsiteX30" fmla="*/ 201437 w 347850"/>
                    <a:gd name="connsiteY30" fmla="*/ 10666 h 284946"/>
                    <a:gd name="connsiteX31" fmla="*/ 191746 w 347850"/>
                    <a:gd name="connsiteY31" fmla="*/ 6019 h 284946"/>
                    <a:gd name="connsiteX32" fmla="*/ 180028 w 347850"/>
                    <a:gd name="connsiteY32" fmla="*/ 22195 h 284946"/>
                    <a:gd name="connsiteX33" fmla="*/ 171645 w 347850"/>
                    <a:gd name="connsiteY33" fmla="*/ 24511 h 284946"/>
                    <a:gd name="connsiteX34" fmla="*/ 167307 w 347850"/>
                    <a:gd name="connsiteY34" fmla="*/ 25434 h 284946"/>
                    <a:gd name="connsiteX35" fmla="*/ 152599 w 347850"/>
                    <a:gd name="connsiteY35" fmla="*/ 44564 h 284946"/>
                    <a:gd name="connsiteX36" fmla="*/ 147020 w 347850"/>
                    <a:gd name="connsiteY36" fmla="*/ 55870 h 284946"/>
                    <a:gd name="connsiteX37" fmla="*/ 131600 w 347850"/>
                    <a:gd name="connsiteY37" fmla="*/ 74053 h 284946"/>
                    <a:gd name="connsiteX38" fmla="*/ 107277 w 347850"/>
                    <a:gd name="connsiteY38" fmla="*/ 91198 h 284946"/>
                    <a:gd name="connsiteX39" fmla="*/ 82621 w 347850"/>
                    <a:gd name="connsiteY39" fmla="*/ 92613 h 284946"/>
                    <a:gd name="connsiteX40" fmla="*/ 57462 w 347850"/>
                    <a:gd name="connsiteY40" fmla="*/ 96307 h 284946"/>
                    <a:gd name="connsiteX41" fmla="*/ 48845 w 347850"/>
                    <a:gd name="connsiteY41" fmla="*/ 100333 h 284946"/>
                    <a:gd name="connsiteX42" fmla="*/ 48265 w 347850"/>
                    <a:gd name="connsiteY42" fmla="*/ 100315 h 284946"/>
                    <a:gd name="connsiteX43" fmla="*/ 40368 w 347850"/>
                    <a:gd name="connsiteY43" fmla="*/ 96269 h 284946"/>
                    <a:gd name="connsiteX44" fmla="*/ 17618 w 347850"/>
                    <a:gd name="connsiteY44" fmla="*/ 84276 h 284946"/>
                    <a:gd name="connsiteX45" fmla="*/ 9263 w 347850"/>
                    <a:gd name="connsiteY45" fmla="*/ 100071 h 284946"/>
                    <a:gd name="connsiteX46" fmla="*/ 8854 w 347850"/>
                    <a:gd name="connsiteY46" fmla="*/ 146244 h 284946"/>
                    <a:gd name="connsiteX47" fmla="*/ 37849 w 347850"/>
                    <a:gd name="connsiteY47" fmla="*/ 138795 h 284946"/>
                    <a:gd name="connsiteX48" fmla="*/ 49605 w 347850"/>
                    <a:gd name="connsiteY48" fmla="*/ 108690 h 284946"/>
                    <a:gd name="connsiteX49" fmla="*/ 86505 w 347850"/>
                    <a:gd name="connsiteY49" fmla="*/ 144043 h 284946"/>
                    <a:gd name="connsiteX50" fmla="*/ 95565 w 347850"/>
                    <a:gd name="connsiteY50" fmla="*/ 201515 h 284946"/>
                    <a:gd name="connsiteX51" fmla="*/ 129348 w 347850"/>
                    <a:gd name="connsiteY51" fmla="*/ 233728 h 284946"/>
                    <a:gd name="connsiteX52" fmla="*/ 147223 w 347850"/>
                    <a:gd name="connsiteY52" fmla="*/ 270050 h 284946"/>
                    <a:gd name="connsiteX53" fmla="*/ 190354 w 347850"/>
                    <a:gd name="connsiteY53" fmla="*/ 284947 h 284946"/>
                    <a:gd name="connsiteX54" fmla="*/ 190323 w 347850"/>
                    <a:gd name="connsiteY54" fmla="*/ 284371 h 2849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347850" h="284946">
                      <a:moveTo>
                        <a:pt x="190323" y="284371"/>
                      </a:moveTo>
                      <a:cubicBezTo>
                        <a:pt x="187060" y="263069"/>
                        <a:pt x="174027" y="245065"/>
                        <a:pt x="160227" y="226014"/>
                      </a:cubicBezTo>
                      <a:cubicBezTo>
                        <a:pt x="145110" y="205132"/>
                        <a:pt x="129474" y="183537"/>
                        <a:pt x="128004" y="157206"/>
                      </a:cubicBezTo>
                      <a:cubicBezTo>
                        <a:pt x="127539" y="148843"/>
                        <a:pt x="128640" y="137115"/>
                        <a:pt x="136548" y="128721"/>
                      </a:cubicBezTo>
                      <a:cubicBezTo>
                        <a:pt x="140411" y="124616"/>
                        <a:pt x="145108" y="122140"/>
                        <a:pt x="149651" y="119738"/>
                      </a:cubicBezTo>
                      <a:cubicBezTo>
                        <a:pt x="152696" y="118131"/>
                        <a:pt x="155570" y="116613"/>
                        <a:pt x="157987" y="114710"/>
                      </a:cubicBezTo>
                      <a:cubicBezTo>
                        <a:pt x="158685" y="114156"/>
                        <a:pt x="159369" y="113553"/>
                        <a:pt x="160052" y="112958"/>
                      </a:cubicBezTo>
                      <a:cubicBezTo>
                        <a:pt x="162365" y="110945"/>
                        <a:pt x="164980" y="108662"/>
                        <a:pt x="168536" y="107443"/>
                      </a:cubicBezTo>
                      <a:cubicBezTo>
                        <a:pt x="173575" y="105709"/>
                        <a:pt x="178758" y="106777"/>
                        <a:pt x="182545" y="107555"/>
                      </a:cubicBezTo>
                      <a:lnTo>
                        <a:pt x="246695" y="120976"/>
                      </a:lnTo>
                      <a:cubicBezTo>
                        <a:pt x="255815" y="122882"/>
                        <a:pt x="265146" y="124613"/>
                        <a:pt x="274406" y="124699"/>
                      </a:cubicBezTo>
                      <a:cubicBezTo>
                        <a:pt x="276686" y="124661"/>
                        <a:pt x="278968" y="124509"/>
                        <a:pt x="281244" y="124348"/>
                      </a:cubicBezTo>
                      <a:cubicBezTo>
                        <a:pt x="286097" y="124033"/>
                        <a:pt x="291106" y="123685"/>
                        <a:pt x="296248" y="124390"/>
                      </a:cubicBezTo>
                      <a:cubicBezTo>
                        <a:pt x="307183" y="125922"/>
                        <a:pt x="316251" y="131789"/>
                        <a:pt x="325022" y="137465"/>
                      </a:cubicBezTo>
                      <a:cubicBezTo>
                        <a:pt x="332651" y="142401"/>
                        <a:pt x="339898" y="146979"/>
                        <a:pt x="347851" y="148568"/>
                      </a:cubicBezTo>
                      <a:cubicBezTo>
                        <a:pt x="347030" y="142287"/>
                        <a:pt x="344087" y="136327"/>
                        <a:pt x="340951" y="130033"/>
                      </a:cubicBezTo>
                      <a:cubicBezTo>
                        <a:pt x="338688" y="125500"/>
                        <a:pt x="336352" y="120810"/>
                        <a:pt x="334721" y="115765"/>
                      </a:cubicBezTo>
                      <a:cubicBezTo>
                        <a:pt x="328955" y="97847"/>
                        <a:pt x="333283" y="78580"/>
                        <a:pt x="338093" y="62710"/>
                      </a:cubicBezTo>
                      <a:cubicBezTo>
                        <a:pt x="335409" y="64182"/>
                        <a:pt x="332674" y="65563"/>
                        <a:pt x="330088" y="67209"/>
                      </a:cubicBezTo>
                      <a:cubicBezTo>
                        <a:pt x="329225" y="71508"/>
                        <a:pt x="326734" y="75333"/>
                        <a:pt x="322877" y="78206"/>
                      </a:cubicBezTo>
                      <a:cubicBezTo>
                        <a:pt x="318325" y="81591"/>
                        <a:pt x="312072" y="83458"/>
                        <a:pt x="305846" y="83506"/>
                      </a:cubicBezTo>
                      <a:cubicBezTo>
                        <a:pt x="303135" y="83527"/>
                        <a:pt x="300440" y="83204"/>
                        <a:pt x="297885" y="82510"/>
                      </a:cubicBezTo>
                      <a:cubicBezTo>
                        <a:pt x="292331" y="81012"/>
                        <a:pt x="287316" y="78475"/>
                        <a:pt x="282465" y="76027"/>
                      </a:cubicBezTo>
                      <a:cubicBezTo>
                        <a:pt x="277301" y="73419"/>
                        <a:pt x="272421" y="70952"/>
                        <a:pt x="267284" y="69904"/>
                      </a:cubicBezTo>
                      <a:cubicBezTo>
                        <a:pt x="264584" y="69345"/>
                        <a:pt x="261735" y="69127"/>
                        <a:pt x="258893" y="68892"/>
                      </a:cubicBezTo>
                      <a:cubicBezTo>
                        <a:pt x="251359" y="68275"/>
                        <a:pt x="242820" y="67574"/>
                        <a:pt x="236588" y="61343"/>
                      </a:cubicBezTo>
                      <a:cubicBezTo>
                        <a:pt x="233676" y="58417"/>
                        <a:pt x="231974" y="54923"/>
                        <a:pt x="230477" y="51831"/>
                      </a:cubicBezTo>
                      <a:lnTo>
                        <a:pt x="215125" y="20203"/>
                      </a:lnTo>
                      <a:cubicBezTo>
                        <a:pt x="212168" y="14090"/>
                        <a:pt x="209112" y="7785"/>
                        <a:pt x="204263" y="3569"/>
                      </a:cubicBezTo>
                      <a:cubicBezTo>
                        <a:pt x="202427" y="1967"/>
                        <a:pt x="200031" y="679"/>
                        <a:pt x="197557" y="0"/>
                      </a:cubicBezTo>
                      <a:lnTo>
                        <a:pt x="201437" y="10666"/>
                      </a:lnTo>
                      <a:lnTo>
                        <a:pt x="191746" y="6019"/>
                      </a:lnTo>
                      <a:cubicBezTo>
                        <a:pt x="190044" y="12058"/>
                        <a:pt x="186846" y="18873"/>
                        <a:pt x="180028" y="22195"/>
                      </a:cubicBezTo>
                      <a:cubicBezTo>
                        <a:pt x="177174" y="23581"/>
                        <a:pt x="174238" y="24079"/>
                        <a:pt x="171645" y="24511"/>
                      </a:cubicBezTo>
                      <a:cubicBezTo>
                        <a:pt x="170184" y="24750"/>
                        <a:pt x="168712" y="24977"/>
                        <a:pt x="167307" y="25434"/>
                      </a:cubicBezTo>
                      <a:cubicBezTo>
                        <a:pt x="160123" y="27763"/>
                        <a:pt x="156470" y="35921"/>
                        <a:pt x="152599" y="44564"/>
                      </a:cubicBezTo>
                      <a:cubicBezTo>
                        <a:pt x="150906" y="48352"/>
                        <a:pt x="149150" y="52276"/>
                        <a:pt x="147020" y="55870"/>
                      </a:cubicBezTo>
                      <a:cubicBezTo>
                        <a:pt x="142811" y="62965"/>
                        <a:pt x="137107" y="68603"/>
                        <a:pt x="131600" y="74053"/>
                      </a:cubicBezTo>
                      <a:cubicBezTo>
                        <a:pt x="125295" y="80275"/>
                        <a:pt x="117458" y="88020"/>
                        <a:pt x="107277" y="91198"/>
                      </a:cubicBezTo>
                      <a:cubicBezTo>
                        <a:pt x="99197" y="93709"/>
                        <a:pt x="90758" y="93154"/>
                        <a:pt x="82621" y="92613"/>
                      </a:cubicBezTo>
                      <a:cubicBezTo>
                        <a:pt x="72980" y="91960"/>
                        <a:pt x="63885" y="91345"/>
                        <a:pt x="57462" y="96307"/>
                      </a:cubicBezTo>
                      <a:cubicBezTo>
                        <a:pt x="55087" y="98187"/>
                        <a:pt x="52439" y="100307"/>
                        <a:pt x="48845" y="100333"/>
                      </a:cubicBezTo>
                      <a:cubicBezTo>
                        <a:pt x="48652" y="100333"/>
                        <a:pt x="48463" y="100325"/>
                        <a:pt x="48265" y="100315"/>
                      </a:cubicBezTo>
                      <a:cubicBezTo>
                        <a:pt x="44488" y="100147"/>
                        <a:pt x="41813" y="97623"/>
                        <a:pt x="40368" y="96269"/>
                      </a:cubicBezTo>
                      <a:cubicBezTo>
                        <a:pt x="31085" y="87497"/>
                        <a:pt x="23604" y="83569"/>
                        <a:pt x="17618" y="84276"/>
                      </a:cubicBezTo>
                      <a:cubicBezTo>
                        <a:pt x="15244" y="89805"/>
                        <a:pt x="12234" y="95224"/>
                        <a:pt x="9263" y="100071"/>
                      </a:cubicBezTo>
                      <a:cubicBezTo>
                        <a:pt x="277" y="114736"/>
                        <a:pt x="-5877" y="137360"/>
                        <a:pt x="8854" y="146244"/>
                      </a:cubicBezTo>
                      <a:cubicBezTo>
                        <a:pt x="18172" y="151865"/>
                        <a:pt x="30932" y="147195"/>
                        <a:pt x="37849" y="138795"/>
                      </a:cubicBezTo>
                      <a:cubicBezTo>
                        <a:pt x="44768" y="130396"/>
                        <a:pt x="47292" y="119323"/>
                        <a:pt x="49605" y="108690"/>
                      </a:cubicBezTo>
                      <a:cubicBezTo>
                        <a:pt x="68125" y="102100"/>
                        <a:pt x="84431" y="124496"/>
                        <a:pt x="86505" y="144043"/>
                      </a:cubicBezTo>
                      <a:cubicBezTo>
                        <a:pt x="88579" y="163590"/>
                        <a:pt x="84617" y="185191"/>
                        <a:pt x="95565" y="201515"/>
                      </a:cubicBezTo>
                      <a:cubicBezTo>
                        <a:pt x="104272" y="214499"/>
                        <a:pt x="120557" y="220799"/>
                        <a:pt x="129348" y="233728"/>
                      </a:cubicBezTo>
                      <a:cubicBezTo>
                        <a:pt x="136977" y="244943"/>
                        <a:pt x="138128" y="259989"/>
                        <a:pt x="147223" y="270050"/>
                      </a:cubicBezTo>
                      <a:cubicBezTo>
                        <a:pt x="157678" y="281617"/>
                        <a:pt x="174582" y="282807"/>
                        <a:pt x="190354" y="284947"/>
                      </a:cubicBezTo>
                      <a:cubicBezTo>
                        <a:pt x="190328" y="284724"/>
                        <a:pt x="190359" y="284612"/>
                        <a:pt x="190323" y="284371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7" name="Forma libre 136">
                  <a:extLst>
                    <a:ext uri="{FF2B5EF4-FFF2-40B4-BE49-F238E27FC236}">
                      <a16:creationId xmlns:a16="http://schemas.microsoft.com/office/drawing/2014/main" id="{84431792-70F1-F34E-8F79-B0D059EA6C66}"/>
                    </a:ext>
                  </a:extLst>
                </p:cNvPr>
                <p:cNvSpPr/>
                <p:nvPr/>
              </p:nvSpPr>
              <p:spPr>
                <a:xfrm>
                  <a:off x="5069180" y="2753284"/>
                  <a:ext cx="189620" cy="184841"/>
                </a:xfrm>
                <a:custGeom>
                  <a:avLst/>
                  <a:gdLst>
                    <a:gd name="connsiteX0" fmla="*/ 11890 w 189620"/>
                    <a:gd name="connsiteY0" fmla="*/ 39092 h 184841"/>
                    <a:gd name="connsiteX1" fmla="*/ 17061 w 189620"/>
                    <a:gd name="connsiteY1" fmla="*/ 51175 h 184841"/>
                    <a:gd name="connsiteX2" fmla="*/ 29134 w 189620"/>
                    <a:gd name="connsiteY2" fmla="*/ 66144 h 184841"/>
                    <a:gd name="connsiteX3" fmla="*/ 30497 w 189620"/>
                    <a:gd name="connsiteY3" fmla="*/ 66574 h 184841"/>
                    <a:gd name="connsiteX4" fmla="*/ 36282 w 189620"/>
                    <a:gd name="connsiteY4" fmla="*/ 69230 h 184841"/>
                    <a:gd name="connsiteX5" fmla="*/ 41671 w 189620"/>
                    <a:gd name="connsiteY5" fmla="*/ 81440 h 184841"/>
                    <a:gd name="connsiteX6" fmla="*/ 43532 w 189620"/>
                    <a:gd name="connsiteY6" fmla="*/ 98600 h 184841"/>
                    <a:gd name="connsiteX7" fmla="*/ 44842 w 189620"/>
                    <a:gd name="connsiteY7" fmla="*/ 103684 h 184841"/>
                    <a:gd name="connsiteX8" fmla="*/ 48133 w 189620"/>
                    <a:gd name="connsiteY8" fmla="*/ 105175 h 184841"/>
                    <a:gd name="connsiteX9" fmla="*/ 71056 w 189620"/>
                    <a:gd name="connsiteY9" fmla="*/ 107118 h 184841"/>
                    <a:gd name="connsiteX10" fmla="*/ 73335 w 189620"/>
                    <a:gd name="connsiteY10" fmla="*/ 106827 h 184841"/>
                    <a:gd name="connsiteX11" fmla="*/ 90048 w 189620"/>
                    <a:gd name="connsiteY11" fmla="*/ 108078 h 184841"/>
                    <a:gd name="connsiteX12" fmla="*/ 104172 w 189620"/>
                    <a:gd name="connsiteY12" fmla="*/ 135919 h 184841"/>
                    <a:gd name="connsiteX13" fmla="*/ 108386 w 189620"/>
                    <a:gd name="connsiteY13" fmla="*/ 150817 h 184841"/>
                    <a:gd name="connsiteX14" fmla="*/ 144208 w 189620"/>
                    <a:gd name="connsiteY14" fmla="*/ 182235 h 184841"/>
                    <a:gd name="connsiteX15" fmla="*/ 162123 w 189620"/>
                    <a:gd name="connsiteY15" fmla="*/ 184841 h 184841"/>
                    <a:gd name="connsiteX16" fmla="*/ 173425 w 189620"/>
                    <a:gd name="connsiteY16" fmla="*/ 134552 h 184841"/>
                    <a:gd name="connsiteX17" fmla="*/ 177959 w 189620"/>
                    <a:gd name="connsiteY17" fmla="*/ 123988 h 184841"/>
                    <a:gd name="connsiteX18" fmla="*/ 187710 w 189620"/>
                    <a:gd name="connsiteY18" fmla="*/ 57477 h 184841"/>
                    <a:gd name="connsiteX19" fmla="*/ 188272 w 189620"/>
                    <a:gd name="connsiteY19" fmla="*/ 44111 h 184841"/>
                    <a:gd name="connsiteX20" fmla="*/ 189620 w 189620"/>
                    <a:gd name="connsiteY20" fmla="*/ 41552 h 184841"/>
                    <a:gd name="connsiteX21" fmla="*/ 186920 w 189620"/>
                    <a:gd name="connsiteY21" fmla="*/ 37848 h 184841"/>
                    <a:gd name="connsiteX22" fmla="*/ 177289 w 189620"/>
                    <a:gd name="connsiteY22" fmla="*/ 30126 h 184841"/>
                    <a:gd name="connsiteX23" fmla="*/ 109212 w 189620"/>
                    <a:gd name="connsiteY23" fmla="*/ 5968 h 184841"/>
                    <a:gd name="connsiteX24" fmla="*/ 109776 w 189620"/>
                    <a:gd name="connsiteY24" fmla="*/ 0 h 184841"/>
                    <a:gd name="connsiteX25" fmla="*/ 46064 w 189620"/>
                    <a:gd name="connsiteY25" fmla="*/ 2832 h 184841"/>
                    <a:gd name="connsiteX26" fmla="*/ 7399 w 189620"/>
                    <a:gd name="connsiteY26" fmla="*/ 13775 h 184841"/>
                    <a:gd name="connsiteX27" fmla="*/ 0 w 189620"/>
                    <a:gd name="connsiteY27" fmla="*/ 14977 h 184841"/>
                    <a:gd name="connsiteX28" fmla="*/ 11890 w 189620"/>
                    <a:gd name="connsiteY28" fmla="*/ 39092 h 1848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189620" h="184841">
                      <a:moveTo>
                        <a:pt x="11890" y="39092"/>
                      </a:moveTo>
                      <a:cubicBezTo>
                        <a:pt x="13602" y="43314"/>
                        <a:pt x="15267" y="47439"/>
                        <a:pt x="17061" y="51175"/>
                      </a:cubicBezTo>
                      <a:cubicBezTo>
                        <a:pt x="20185" y="57683"/>
                        <a:pt x="23690" y="64198"/>
                        <a:pt x="29134" y="66144"/>
                      </a:cubicBezTo>
                      <a:lnTo>
                        <a:pt x="30497" y="66574"/>
                      </a:lnTo>
                      <a:cubicBezTo>
                        <a:pt x="32201" y="67080"/>
                        <a:pt x="34321" y="67708"/>
                        <a:pt x="36282" y="69230"/>
                      </a:cubicBezTo>
                      <a:cubicBezTo>
                        <a:pt x="40725" y="72693"/>
                        <a:pt x="41341" y="78382"/>
                        <a:pt x="41671" y="81440"/>
                      </a:cubicBezTo>
                      <a:lnTo>
                        <a:pt x="43532" y="98600"/>
                      </a:lnTo>
                      <a:cubicBezTo>
                        <a:pt x="43708" y="100264"/>
                        <a:pt x="43977" y="102765"/>
                        <a:pt x="44842" y="103684"/>
                      </a:cubicBezTo>
                      <a:cubicBezTo>
                        <a:pt x="45525" y="104408"/>
                        <a:pt x="47350" y="104944"/>
                        <a:pt x="48133" y="105175"/>
                      </a:cubicBezTo>
                      <a:cubicBezTo>
                        <a:pt x="55502" y="107352"/>
                        <a:pt x="63430" y="108027"/>
                        <a:pt x="71056" y="107118"/>
                      </a:cubicBezTo>
                      <a:lnTo>
                        <a:pt x="73335" y="106827"/>
                      </a:lnTo>
                      <a:cubicBezTo>
                        <a:pt x="78552" y="106131"/>
                        <a:pt x="84431" y="105348"/>
                        <a:pt x="90048" y="108078"/>
                      </a:cubicBezTo>
                      <a:cubicBezTo>
                        <a:pt x="99682" y="112758"/>
                        <a:pt x="102071" y="125065"/>
                        <a:pt x="104172" y="135919"/>
                      </a:cubicBezTo>
                      <a:cubicBezTo>
                        <a:pt x="105275" y="141610"/>
                        <a:pt x="106414" y="147492"/>
                        <a:pt x="108386" y="150817"/>
                      </a:cubicBezTo>
                      <a:cubicBezTo>
                        <a:pt x="115633" y="163067"/>
                        <a:pt x="130267" y="177787"/>
                        <a:pt x="144208" y="182235"/>
                      </a:cubicBezTo>
                      <a:cubicBezTo>
                        <a:pt x="149613" y="183956"/>
                        <a:pt x="155848" y="184520"/>
                        <a:pt x="162123" y="184841"/>
                      </a:cubicBezTo>
                      <a:cubicBezTo>
                        <a:pt x="158877" y="167805"/>
                        <a:pt x="166498" y="150283"/>
                        <a:pt x="173425" y="134552"/>
                      </a:cubicBezTo>
                      <a:cubicBezTo>
                        <a:pt x="174991" y="130993"/>
                        <a:pt x="176547" y="127463"/>
                        <a:pt x="177959" y="123988"/>
                      </a:cubicBezTo>
                      <a:cubicBezTo>
                        <a:pt x="186469" y="103005"/>
                        <a:pt x="189845" y="80010"/>
                        <a:pt x="187710" y="57477"/>
                      </a:cubicBezTo>
                      <a:cubicBezTo>
                        <a:pt x="187261" y="52851"/>
                        <a:pt x="186841" y="48502"/>
                        <a:pt x="188272" y="44111"/>
                      </a:cubicBezTo>
                      <a:cubicBezTo>
                        <a:pt x="188590" y="43130"/>
                        <a:pt x="189182" y="42418"/>
                        <a:pt x="189620" y="41552"/>
                      </a:cubicBezTo>
                      <a:cubicBezTo>
                        <a:pt x="188717" y="40320"/>
                        <a:pt x="187954" y="38942"/>
                        <a:pt x="186920" y="37848"/>
                      </a:cubicBezTo>
                      <a:cubicBezTo>
                        <a:pt x="183990" y="34740"/>
                        <a:pt x="180410" y="32201"/>
                        <a:pt x="177289" y="30126"/>
                      </a:cubicBezTo>
                      <a:cubicBezTo>
                        <a:pt x="157020" y="16609"/>
                        <a:pt x="133480" y="8258"/>
                        <a:pt x="109212" y="5968"/>
                      </a:cubicBezTo>
                      <a:lnTo>
                        <a:pt x="109776" y="0"/>
                      </a:lnTo>
                      <a:cubicBezTo>
                        <a:pt x="91294" y="12524"/>
                        <a:pt x="65515" y="14033"/>
                        <a:pt x="46064" y="2832"/>
                      </a:cubicBezTo>
                      <a:cubicBezTo>
                        <a:pt x="45802" y="2681"/>
                        <a:pt x="11464" y="13149"/>
                        <a:pt x="7399" y="13775"/>
                      </a:cubicBezTo>
                      <a:cubicBezTo>
                        <a:pt x="4858" y="14164"/>
                        <a:pt x="2410" y="14565"/>
                        <a:pt x="0" y="14977"/>
                      </a:cubicBezTo>
                      <a:cubicBezTo>
                        <a:pt x="4899" y="22137"/>
                        <a:pt x="8487" y="30695"/>
                        <a:pt x="11890" y="3909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8" name="Forma libre 137">
                  <a:extLst>
                    <a:ext uri="{FF2B5EF4-FFF2-40B4-BE49-F238E27FC236}">
                      <a16:creationId xmlns:a16="http://schemas.microsoft.com/office/drawing/2014/main" id="{648D9049-548A-7242-BCEE-3B79DF5686EC}"/>
                    </a:ext>
                  </a:extLst>
                </p:cNvPr>
                <p:cNvSpPr/>
                <p:nvPr/>
              </p:nvSpPr>
              <p:spPr>
                <a:xfrm>
                  <a:off x="5183318" y="2619125"/>
                  <a:ext cx="198001" cy="167492"/>
                </a:xfrm>
                <a:custGeom>
                  <a:avLst/>
                  <a:gdLst>
                    <a:gd name="connsiteX0" fmla="*/ 664 w 198001"/>
                    <a:gd name="connsiteY0" fmla="*/ 130157 h 167492"/>
                    <a:gd name="connsiteX1" fmla="*/ 69025 w 198001"/>
                    <a:gd name="connsiteY1" fmla="*/ 155469 h 167492"/>
                    <a:gd name="connsiteX2" fmla="*/ 80486 w 198001"/>
                    <a:gd name="connsiteY2" fmla="*/ 164737 h 167492"/>
                    <a:gd name="connsiteX3" fmla="*/ 82758 w 198001"/>
                    <a:gd name="connsiteY3" fmla="*/ 167492 h 167492"/>
                    <a:gd name="connsiteX4" fmla="*/ 92176 w 198001"/>
                    <a:gd name="connsiteY4" fmla="*/ 162293 h 167492"/>
                    <a:gd name="connsiteX5" fmla="*/ 104728 w 198001"/>
                    <a:gd name="connsiteY5" fmla="*/ 153489 h 167492"/>
                    <a:gd name="connsiteX6" fmla="*/ 106619 w 198001"/>
                    <a:gd name="connsiteY6" fmla="*/ 148563 h 167492"/>
                    <a:gd name="connsiteX7" fmla="*/ 111823 w 198001"/>
                    <a:gd name="connsiteY7" fmla="*/ 138357 h 167492"/>
                    <a:gd name="connsiteX8" fmla="*/ 132636 w 198001"/>
                    <a:gd name="connsiteY8" fmla="*/ 133217 h 167492"/>
                    <a:gd name="connsiteX9" fmla="*/ 145261 w 198001"/>
                    <a:gd name="connsiteY9" fmla="*/ 131476 h 167492"/>
                    <a:gd name="connsiteX10" fmla="*/ 149308 w 198001"/>
                    <a:gd name="connsiteY10" fmla="*/ 124900 h 167492"/>
                    <a:gd name="connsiteX11" fmla="*/ 163207 w 198001"/>
                    <a:gd name="connsiteY11" fmla="*/ 112791 h 167492"/>
                    <a:gd name="connsiteX12" fmla="*/ 163234 w 198001"/>
                    <a:gd name="connsiteY12" fmla="*/ 112791 h 167492"/>
                    <a:gd name="connsiteX13" fmla="*/ 171991 w 198001"/>
                    <a:gd name="connsiteY13" fmla="*/ 115683 h 167492"/>
                    <a:gd name="connsiteX14" fmla="*/ 174861 w 198001"/>
                    <a:gd name="connsiteY14" fmla="*/ 117106 h 167492"/>
                    <a:gd name="connsiteX15" fmla="*/ 178999 w 198001"/>
                    <a:gd name="connsiteY15" fmla="*/ 116603 h 167492"/>
                    <a:gd name="connsiteX16" fmla="*/ 187969 w 198001"/>
                    <a:gd name="connsiteY16" fmla="*/ 98431 h 167492"/>
                    <a:gd name="connsiteX17" fmla="*/ 197576 w 198001"/>
                    <a:gd name="connsiteY17" fmla="*/ 38323 h 167492"/>
                    <a:gd name="connsiteX18" fmla="*/ 197896 w 198001"/>
                    <a:gd name="connsiteY18" fmla="*/ 33315 h 167492"/>
                    <a:gd name="connsiteX19" fmla="*/ 192008 w 198001"/>
                    <a:gd name="connsiteY19" fmla="*/ 25349 h 167492"/>
                    <a:gd name="connsiteX20" fmla="*/ 183709 w 198001"/>
                    <a:gd name="connsiteY20" fmla="*/ 9920 h 167492"/>
                    <a:gd name="connsiteX21" fmla="*/ 102715 w 198001"/>
                    <a:gd name="connsiteY21" fmla="*/ 8266 h 167492"/>
                    <a:gd name="connsiteX22" fmla="*/ 85880 w 198001"/>
                    <a:gd name="connsiteY22" fmla="*/ 76459 h 167492"/>
                    <a:gd name="connsiteX23" fmla="*/ 62491 w 198001"/>
                    <a:gd name="connsiteY23" fmla="*/ 68153 h 167492"/>
                    <a:gd name="connsiteX24" fmla="*/ 65278 w 198001"/>
                    <a:gd name="connsiteY24" fmla="*/ 25792 h 167492"/>
                    <a:gd name="connsiteX25" fmla="*/ 22515 w 198001"/>
                    <a:gd name="connsiteY25" fmla="*/ 73419 h 167492"/>
                    <a:gd name="connsiteX26" fmla="*/ 2686 w 198001"/>
                    <a:gd name="connsiteY26" fmla="*/ 128547 h 167492"/>
                    <a:gd name="connsiteX27" fmla="*/ 664 w 198001"/>
                    <a:gd name="connsiteY27" fmla="*/ 130157 h 1674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98001" h="167492">
                      <a:moveTo>
                        <a:pt x="664" y="130157"/>
                      </a:moveTo>
                      <a:cubicBezTo>
                        <a:pt x="25035" y="133186"/>
                        <a:pt x="48586" y="141842"/>
                        <a:pt x="69025" y="155469"/>
                      </a:cubicBezTo>
                      <a:cubicBezTo>
                        <a:pt x="72635" y="157871"/>
                        <a:pt x="76826" y="160855"/>
                        <a:pt x="80486" y="164737"/>
                      </a:cubicBezTo>
                      <a:cubicBezTo>
                        <a:pt x="81310" y="165609"/>
                        <a:pt x="82014" y="166566"/>
                        <a:pt x="82758" y="167492"/>
                      </a:cubicBezTo>
                      <a:cubicBezTo>
                        <a:pt x="85745" y="165436"/>
                        <a:pt x="89030" y="163783"/>
                        <a:pt x="92176" y="162293"/>
                      </a:cubicBezTo>
                      <a:cubicBezTo>
                        <a:pt x="97484" y="159782"/>
                        <a:pt x="102497" y="157405"/>
                        <a:pt x="104728" y="153489"/>
                      </a:cubicBezTo>
                      <a:cubicBezTo>
                        <a:pt x="105500" y="152139"/>
                        <a:pt x="106044" y="150402"/>
                        <a:pt x="106619" y="148563"/>
                      </a:cubicBezTo>
                      <a:cubicBezTo>
                        <a:pt x="107659" y="145233"/>
                        <a:pt x="108848" y="141465"/>
                        <a:pt x="111823" y="138357"/>
                      </a:cubicBezTo>
                      <a:cubicBezTo>
                        <a:pt x="117605" y="132310"/>
                        <a:pt x="125595" y="132803"/>
                        <a:pt x="132636" y="133217"/>
                      </a:cubicBezTo>
                      <a:cubicBezTo>
                        <a:pt x="137780" y="133534"/>
                        <a:pt x="142652" y="133829"/>
                        <a:pt x="145261" y="131476"/>
                      </a:cubicBezTo>
                      <a:cubicBezTo>
                        <a:pt x="146793" y="130100"/>
                        <a:pt x="148070" y="127454"/>
                        <a:pt x="149308" y="124900"/>
                      </a:cubicBezTo>
                      <a:cubicBezTo>
                        <a:pt x="151773" y="119813"/>
                        <a:pt x="155144" y="112852"/>
                        <a:pt x="163207" y="112791"/>
                      </a:cubicBezTo>
                      <a:cubicBezTo>
                        <a:pt x="163212" y="112791"/>
                        <a:pt x="163222" y="112791"/>
                        <a:pt x="163234" y="112791"/>
                      </a:cubicBezTo>
                      <a:cubicBezTo>
                        <a:pt x="166864" y="112775"/>
                        <a:pt x="169704" y="114387"/>
                        <a:pt x="171991" y="115683"/>
                      </a:cubicBezTo>
                      <a:cubicBezTo>
                        <a:pt x="173039" y="116275"/>
                        <a:pt x="174030" y="116837"/>
                        <a:pt x="174861" y="117106"/>
                      </a:cubicBezTo>
                      <a:cubicBezTo>
                        <a:pt x="176348" y="117590"/>
                        <a:pt x="177636" y="117430"/>
                        <a:pt x="178999" y="116603"/>
                      </a:cubicBezTo>
                      <a:cubicBezTo>
                        <a:pt x="182901" y="114211"/>
                        <a:pt x="186674" y="106563"/>
                        <a:pt x="187969" y="98431"/>
                      </a:cubicBezTo>
                      <a:lnTo>
                        <a:pt x="197576" y="38323"/>
                      </a:lnTo>
                      <a:cubicBezTo>
                        <a:pt x="197880" y="36443"/>
                        <a:pt x="198160" y="34666"/>
                        <a:pt x="197896" y="33315"/>
                      </a:cubicBezTo>
                      <a:cubicBezTo>
                        <a:pt x="197400" y="30739"/>
                        <a:pt x="194660" y="28003"/>
                        <a:pt x="192008" y="25349"/>
                      </a:cubicBezTo>
                      <a:cubicBezTo>
                        <a:pt x="188069" y="21404"/>
                        <a:pt x="183302" y="16590"/>
                        <a:pt x="183709" y="9920"/>
                      </a:cubicBezTo>
                      <a:cubicBezTo>
                        <a:pt x="158740" y="-2586"/>
                        <a:pt x="128118" y="-3412"/>
                        <a:pt x="102715" y="8266"/>
                      </a:cubicBezTo>
                      <a:cubicBezTo>
                        <a:pt x="97103" y="30997"/>
                        <a:pt x="91492" y="53727"/>
                        <a:pt x="85880" y="76459"/>
                      </a:cubicBezTo>
                      <a:cubicBezTo>
                        <a:pt x="78084" y="73689"/>
                        <a:pt x="70287" y="70921"/>
                        <a:pt x="62491" y="68153"/>
                      </a:cubicBezTo>
                      <a:cubicBezTo>
                        <a:pt x="63419" y="54034"/>
                        <a:pt x="64348" y="39912"/>
                        <a:pt x="65278" y="25792"/>
                      </a:cubicBezTo>
                      <a:cubicBezTo>
                        <a:pt x="51025" y="41668"/>
                        <a:pt x="36768" y="57543"/>
                        <a:pt x="22515" y="73419"/>
                      </a:cubicBezTo>
                      <a:cubicBezTo>
                        <a:pt x="8635" y="88874"/>
                        <a:pt x="-6193" y="109768"/>
                        <a:pt x="2686" y="128547"/>
                      </a:cubicBezTo>
                      <a:cubicBezTo>
                        <a:pt x="2058" y="129143"/>
                        <a:pt x="1317" y="129595"/>
                        <a:pt x="664" y="130157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9" name="Forma libre 138">
                  <a:extLst>
                    <a:ext uri="{FF2B5EF4-FFF2-40B4-BE49-F238E27FC236}">
                      <a16:creationId xmlns:a16="http://schemas.microsoft.com/office/drawing/2014/main" id="{B209BD9E-9DFA-4B4C-AFB9-A5C64038FC1A}"/>
                    </a:ext>
                  </a:extLst>
                </p:cNvPr>
                <p:cNvSpPr/>
                <p:nvPr/>
              </p:nvSpPr>
              <p:spPr>
                <a:xfrm>
                  <a:off x="6272602" y="2398417"/>
                  <a:ext cx="478719" cy="397271"/>
                </a:xfrm>
                <a:custGeom>
                  <a:avLst/>
                  <a:gdLst>
                    <a:gd name="connsiteX0" fmla="*/ 19626 w 478719"/>
                    <a:gd name="connsiteY0" fmla="*/ 288130 h 397271"/>
                    <a:gd name="connsiteX1" fmla="*/ 15951 w 478719"/>
                    <a:gd name="connsiteY1" fmla="*/ 296111 h 397271"/>
                    <a:gd name="connsiteX2" fmla="*/ 13465 w 478719"/>
                    <a:gd name="connsiteY2" fmla="*/ 301182 h 397271"/>
                    <a:gd name="connsiteX3" fmla="*/ 15279 w 478719"/>
                    <a:gd name="connsiteY3" fmla="*/ 312649 h 397271"/>
                    <a:gd name="connsiteX4" fmla="*/ 16838 w 478719"/>
                    <a:gd name="connsiteY4" fmla="*/ 317782 h 397271"/>
                    <a:gd name="connsiteX5" fmla="*/ 4567 w 478719"/>
                    <a:gd name="connsiteY5" fmla="*/ 360058 h 397271"/>
                    <a:gd name="connsiteX6" fmla="*/ 24997 w 478719"/>
                    <a:gd name="connsiteY6" fmla="*/ 393720 h 397271"/>
                    <a:gd name="connsiteX7" fmla="*/ 36286 w 478719"/>
                    <a:gd name="connsiteY7" fmla="*/ 384163 h 397271"/>
                    <a:gd name="connsiteX8" fmla="*/ 39340 w 478719"/>
                    <a:gd name="connsiteY8" fmla="*/ 380251 h 397271"/>
                    <a:gd name="connsiteX9" fmla="*/ 53050 w 478719"/>
                    <a:gd name="connsiteY9" fmla="*/ 367328 h 397271"/>
                    <a:gd name="connsiteX10" fmla="*/ 70964 w 478719"/>
                    <a:gd name="connsiteY10" fmla="*/ 368911 h 397271"/>
                    <a:gd name="connsiteX11" fmla="*/ 73494 w 478719"/>
                    <a:gd name="connsiteY11" fmla="*/ 371127 h 397271"/>
                    <a:gd name="connsiteX12" fmla="*/ 128759 w 478719"/>
                    <a:gd name="connsiteY12" fmla="*/ 371591 h 397271"/>
                    <a:gd name="connsiteX13" fmla="*/ 142859 w 478719"/>
                    <a:gd name="connsiteY13" fmla="*/ 378581 h 397271"/>
                    <a:gd name="connsiteX14" fmla="*/ 181633 w 478719"/>
                    <a:gd name="connsiteY14" fmla="*/ 392042 h 397271"/>
                    <a:gd name="connsiteX15" fmla="*/ 204342 w 478719"/>
                    <a:gd name="connsiteY15" fmla="*/ 388809 h 397271"/>
                    <a:gd name="connsiteX16" fmla="*/ 241319 w 478719"/>
                    <a:gd name="connsiteY16" fmla="*/ 387469 h 397271"/>
                    <a:gd name="connsiteX17" fmla="*/ 251230 w 478719"/>
                    <a:gd name="connsiteY17" fmla="*/ 391867 h 397271"/>
                    <a:gd name="connsiteX18" fmla="*/ 260205 w 478719"/>
                    <a:gd name="connsiteY18" fmla="*/ 395824 h 397271"/>
                    <a:gd name="connsiteX19" fmla="*/ 277239 w 478719"/>
                    <a:gd name="connsiteY19" fmla="*/ 397222 h 397271"/>
                    <a:gd name="connsiteX20" fmla="*/ 315102 w 478719"/>
                    <a:gd name="connsiteY20" fmla="*/ 396580 h 397271"/>
                    <a:gd name="connsiteX21" fmla="*/ 385957 w 478719"/>
                    <a:gd name="connsiteY21" fmla="*/ 382117 h 397271"/>
                    <a:gd name="connsiteX22" fmla="*/ 382004 w 478719"/>
                    <a:gd name="connsiteY22" fmla="*/ 329542 h 397271"/>
                    <a:gd name="connsiteX23" fmla="*/ 380690 w 478719"/>
                    <a:gd name="connsiteY23" fmla="*/ 325326 h 397271"/>
                    <a:gd name="connsiteX24" fmla="*/ 384605 w 478719"/>
                    <a:gd name="connsiteY24" fmla="*/ 323281 h 397271"/>
                    <a:gd name="connsiteX25" fmla="*/ 409556 w 478719"/>
                    <a:gd name="connsiteY25" fmla="*/ 321093 h 397271"/>
                    <a:gd name="connsiteX26" fmla="*/ 412180 w 478719"/>
                    <a:gd name="connsiteY26" fmla="*/ 321925 h 397271"/>
                    <a:gd name="connsiteX27" fmla="*/ 413006 w 478719"/>
                    <a:gd name="connsiteY27" fmla="*/ 324547 h 397271"/>
                    <a:gd name="connsiteX28" fmla="*/ 423592 w 478719"/>
                    <a:gd name="connsiteY28" fmla="*/ 335984 h 397271"/>
                    <a:gd name="connsiteX29" fmla="*/ 439151 w 478719"/>
                    <a:gd name="connsiteY29" fmla="*/ 336792 h 397271"/>
                    <a:gd name="connsiteX30" fmla="*/ 449657 w 478719"/>
                    <a:gd name="connsiteY30" fmla="*/ 325310 h 397271"/>
                    <a:gd name="connsiteX31" fmla="*/ 449169 w 478719"/>
                    <a:gd name="connsiteY31" fmla="*/ 309744 h 397271"/>
                    <a:gd name="connsiteX32" fmla="*/ 445495 w 478719"/>
                    <a:gd name="connsiteY32" fmla="*/ 302552 h 397271"/>
                    <a:gd name="connsiteX33" fmla="*/ 457180 w 478719"/>
                    <a:gd name="connsiteY33" fmla="*/ 301826 h 397271"/>
                    <a:gd name="connsiteX34" fmla="*/ 453297 w 478719"/>
                    <a:gd name="connsiteY34" fmla="*/ 299144 h 397271"/>
                    <a:gd name="connsiteX35" fmla="*/ 437742 w 478719"/>
                    <a:gd name="connsiteY35" fmla="*/ 268675 h 397271"/>
                    <a:gd name="connsiteX36" fmla="*/ 448129 w 478719"/>
                    <a:gd name="connsiteY36" fmla="*/ 236088 h 397271"/>
                    <a:gd name="connsiteX37" fmla="*/ 456233 w 478719"/>
                    <a:gd name="connsiteY37" fmla="*/ 228576 h 397271"/>
                    <a:gd name="connsiteX38" fmla="*/ 462922 w 478719"/>
                    <a:gd name="connsiteY38" fmla="*/ 222486 h 397271"/>
                    <a:gd name="connsiteX39" fmla="*/ 478161 w 478719"/>
                    <a:gd name="connsiteY39" fmla="*/ 184236 h 397271"/>
                    <a:gd name="connsiteX40" fmla="*/ 478514 w 478719"/>
                    <a:gd name="connsiteY40" fmla="*/ 178959 h 397271"/>
                    <a:gd name="connsiteX41" fmla="*/ 473530 w 478719"/>
                    <a:gd name="connsiteY41" fmla="*/ 175074 h 397271"/>
                    <a:gd name="connsiteX42" fmla="*/ 421386 w 478719"/>
                    <a:gd name="connsiteY42" fmla="*/ 146710 h 397271"/>
                    <a:gd name="connsiteX43" fmla="*/ 405967 w 478719"/>
                    <a:gd name="connsiteY43" fmla="*/ 134710 h 397271"/>
                    <a:gd name="connsiteX44" fmla="*/ 401707 w 478719"/>
                    <a:gd name="connsiteY44" fmla="*/ 126622 h 397271"/>
                    <a:gd name="connsiteX45" fmla="*/ 395540 w 478719"/>
                    <a:gd name="connsiteY45" fmla="*/ 117981 h 397271"/>
                    <a:gd name="connsiteX46" fmla="*/ 390749 w 478719"/>
                    <a:gd name="connsiteY46" fmla="*/ 117691 h 397271"/>
                    <a:gd name="connsiteX47" fmla="*/ 385185 w 478719"/>
                    <a:gd name="connsiteY47" fmla="*/ 117552 h 397271"/>
                    <a:gd name="connsiteX48" fmla="*/ 362829 w 478719"/>
                    <a:gd name="connsiteY48" fmla="*/ 90920 h 397271"/>
                    <a:gd name="connsiteX49" fmla="*/ 346619 w 478719"/>
                    <a:gd name="connsiteY49" fmla="*/ 17254 h 397271"/>
                    <a:gd name="connsiteX50" fmla="*/ 334789 w 478719"/>
                    <a:gd name="connsiteY50" fmla="*/ 15053 h 397271"/>
                    <a:gd name="connsiteX51" fmla="*/ 324936 w 478719"/>
                    <a:gd name="connsiteY51" fmla="*/ 23782 h 397271"/>
                    <a:gd name="connsiteX52" fmla="*/ 323884 w 478719"/>
                    <a:gd name="connsiteY52" fmla="*/ 28357 h 397271"/>
                    <a:gd name="connsiteX53" fmla="*/ 319205 w 478719"/>
                    <a:gd name="connsiteY53" fmla="*/ 27854 h 397271"/>
                    <a:gd name="connsiteX54" fmla="*/ 263932 w 478719"/>
                    <a:gd name="connsiteY54" fmla="*/ 15463 h 397271"/>
                    <a:gd name="connsiteX55" fmla="*/ 226635 w 478719"/>
                    <a:gd name="connsiteY55" fmla="*/ 5895 h 397271"/>
                    <a:gd name="connsiteX56" fmla="*/ 213366 w 478719"/>
                    <a:gd name="connsiteY56" fmla="*/ 0 h 397271"/>
                    <a:gd name="connsiteX57" fmla="*/ 213083 w 478719"/>
                    <a:gd name="connsiteY57" fmla="*/ 44 h 397271"/>
                    <a:gd name="connsiteX58" fmla="*/ 205066 w 478719"/>
                    <a:gd name="connsiteY58" fmla="*/ 12293 h 397271"/>
                    <a:gd name="connsiteX59" fmla="*/ 204751 w 478719"/>
                    <a:gd name="connsiteY59" fmla="*/ 18216 h 397271"/>
                    <a:gd name="connsiteX60" fmla="*/ 194742 w 478719"/>
                    <a:gd name="connsiteY60" fmla="*/ 44992 h 397271"/>
                    <a:gd name="connsiteX61" fmla="*/ 176544 w 478719"/>
                    <a:gd name="connsiteY61" fmla="*/ 48423 h 397271"/>
                    <a:gd name="connsiteX62" fmla="*/ 169356 w 478719"/>
                    <a:gd name="connsiteY62" fmla="*/ 48507 h 397271"/>
                    <a:gd name="connsiteX63" fmla="*/ 155467 w 478719"/>
                    <a:gd name="connsiteY63" fmla="*/ 52899 h 397271"/>
                    <a:gd name="connsiteX64" fmla="*/ 141326 w 478719"/>
                    <a:gd name="connsiteY64" fmla="*/ 57525 h 397271"/>
                    <a:gd name="connsiteX65" fmla="*/ 140345 w 478719"/>
                    <a:gd name="connsiteY65" fmla="*/ 58237 h 397271"/>
                    <a:gd name="connsiteX66" fmla="*/ 138652 w 478719"/>
                    <a:gd name="connsiteY66" fmla="*/ 68240 h 397271"/>
                    <a:gd name="connsiteX67" fmla="*/ 135574 w 478719"/>
                    <a:gd name="connsiteY67" fmla="*/ 71640 h 397271"/>
                    <a:gd name="connsiteX68" fmla="*/ 133340 w 478719"/>
                    <a:gd name="connsiteY68" fmla="*/ 74310 h 397271"/>
                    <a:gd name="connsiteX69" fmla="*/ 144285 w 478719"/>
                    <a:gd name="connsiteY69" fmla="*/ 78618 h 397271"/>
                    <a:gd name="connsiteX70" fmla="*/ 164120 w 478719"/>
                    <a:gd name="connsiteY70" fmla="*/ 85224 h 397271"/>
                    <a:gd name="connsiteX71" fmla="*/ 167004 w 478719"/>
                    <a:gd name="connsiteY71" fmla="*/ 94754 h 397271"/>
                    <a:gd name="connsiteX72" fmla="*/ 166643 w 478719"/>
                    <a:gd name="connsiteY72" fmla="*/ 97395 h 397271"/>
                    <a:gd name="connsiteX73" fmla="*/ 128714 w 478719"/>
                    <a:gd name="connsiteY73" fmla="*/ 118262 h 397271"/>
                    <a:gd name="connsiteX74" fmla="*/ 117417 w 478719"/>
                    <a:gd name="connsiteY74" fmla="*/ 120793 h 397271"/>
                    <a:gd name="connsiteX75" fmla="*/ 111561 w 478719"/>
                    <a:gd name="connsiteY75" fmla="*/ 117750 h 397271"/>
                    <a:gd name="connsiteX76" fmla="*/ 110094 w 478719"/>
                    <a:gd name="connsiteY76" fmla="*/ 116731 h 397271"/>
                    <a:gd name="connsiteX77" fmla="*/ 105005 w 478719"/>
                    <a:gd name="connsiteY77" fmla="*/ 116609 h 397271"/>
                    <a:gd name="connsiteX78" fmla="*/ 97771 w 478719"/>
                    <a:gd name="connsiteY78" fmla="*/ 124425 h 397271"/>
                    <a:gd name="connsiteX79" fmla="*/ 98246 w 478719"/>
                    <a:gd name="connsiteY79" fmla="*/ 143696 h 397271"/>
                    <a:gd name="connsiteX80" fmla="*/ 98940 w 478719"/>
                    <a:gd name="connsiteY80" fmla="*/ 147937 h 397271"/>
                    <a:gd name="connsiteX81" fmla="*/ 92985 w 478719"/>
                    <a:gd name="connsiteY81" fmla="*/ 177154 h 397271"/>
                    <a:gd name="connsiteX82" fmla="*/ 68112 w 478719"/>
                    <a:gd name="connsiteY82" fmla="*/ 186979 h 397271"/>
                    <a:gd name="connsiteX83" fmla="*/ 49341 w 478719"/>
                    <a:gd name="connsiteY83" fmla="*/ 194355 h 397271"/>
                    <a:gd name="connsiteX84" fmla="*/ 41957 w 478719"/>
                    <a:gd name="connsiteY84" fmla="*/ 205323 h 397271"/>
                    <a:gd name="connsiteX85" fmla="*/ 39728 w 478719"/>
                    <a:gd name="connsiteY85" fmla="*/ 192293 h 397271"/>
                    <a:gd name="connsiteX86" fmla="*/ 35693 w 478719"/>
                    <a:gd name="connsiteY86" fmla="*/ 186604 h 397271"/>
                    <a:gd name="connsiteX87" fmla="*/ 34582 w 478719"/>
                    <a:gd name="connsiteY87" fmla="*/ 185974 h 397271"/>
                    <a:gd name="connsiteX88" fmla="*/ 21937 w 478719"/>
                    <a:gd name="connsiteY88" fmla="*/ 211696 h 397271"/>
                    <a:gd name="connsiteX89" fmla="*/ 6601 w 478719"/>
                    <a:gd name="connsiteY89" fmla="*/ 216014 h 397271"/>
                    <a:gd name="connsiteX90" fmla="*/ 0 w 478719"/>
                    <a:gd name="connsiteY90" fmla="*/ 215298 h 397271"/>
                    <a:gd name="connsiteX91" fmla="*/ 17857 w 478719"/>
                    <a:gd name="connsiteY91" fmla="*/ 271677 h 397271"/>
                    <a:gd name="connsiteX92" fmla="*/ 19626 w 478719"/>
                    <a:gd name="connsiteY92" fmla="*/ 288130 h 3972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</a:cxnLst>
                  <a:rect l="l" t="t" r="r" b="b"/>
                  <a:pathLst>
                    <a:path w="478719" h="397271">
                      <a:moveTo>
                        <a:pt x="19626" y="288130"/>
                      </a:moveTo>
                      <a:cubicBezTo>
                        <a:pt x="18841" y="291234"/>
                        <a:pt x="17311" y="293826"/>
                        <a:pt x="15951" y="296111"/>
                      </a:cubicBezTo>
                      <a:cubicBezTo>
                        <a:pt x="14888" y="297903"/>
                        <a:pt x="13887" y="299596"/>
                        <a:pt x="13465" y="301182"/>
                      </a:cubicBezTo>
                      <a:cubicBezTo>
                        <a:pt x="12602" y="304461"/>
                        <a:pt x="13904" y="308438"/>
                        <a:pt x="15279" y="312649"/>
                      </a:cubicBezTo>
                      <a:cubicBezTo>
                        <a:pt x="15839" y="314362"/>
                        <a:pt x="16403" y="316075"/>
                        <a:pt x="16838" y="317782"/>
                      </a:cubicBezTo>
                      <a:cubicBezTo>
                        <a:pt x="20767" y="332791"/>
                        <a:pt x="15668" y="349430"/>
                        <a:pt x="4567" y="360058"/>
                      </a:cubicBezTo>
                      <a:cubicBezTo>
                        <a:pt x="15364" y="368068"/>
                        <a:pt x="22892" y="380436"/>
                        <a:pt x="24997" y="393720"/>
                      </a:cubicBezTo>
                      <a:cubicBezTo>
                        <a:pt x="29198" y="391051"/>
                        <a:pt x="33125" y="387960"/>
                        <a:pt x="36286" y="384163"/>
                      </a:cubicBezTo>
                      <a:cubicBezTo>
                        <a:pt x="37332" y="382904"/>
                        <a:pt x="38334" y="381578"/>
                        <a:pt x="39340" y="380251"/>
                      </a:cubicBezTo>
                      <a:cubicBezTo>
                        <a:pt x="42882" y="375566"/>
                        <a:pt x="46908" y="370261"/>
                        <a:pt x="53050" y="367328"/>
                      </a:cubicBezTo>
                      <a:cubicBezTo>
                        <a:pt x="58522" y="364723"/>
                        <a:pt x="65901" y="365366"/>
                        <a:pt x="70964" y="368911"/>
                      </a:cubicBezTo>
                      <a:cubicBezTo>
                        <a:pt x="71922" y="369570"/>
                        <a:pt x="72764" y="370316"/>
                        <a:pt x="73494" y="371127"/>
                      </a:cubicBezTo>
                      <a:cubicBezTo>
                        <a:pt x="89062" y="360279"/>
                        <a:pt x="111522" y="363804"/>
                        <a:pt x="128759" y="371591"/>
                      </a:cubicBezTo>
                      <a:cubicBezTo>
                        <a:pt x="133492" y="373735"/>
                        <a:pt x="138175" y="376155"/>
                        <a:pt x="142859" y="378581"/>
                      </a:cubicBezTo>
                      <a:cubicBezTo>
                        <a:pt x="155889" y="385337"/>
                        <a:pt x="168204" y="391712"/>
                        <a:pt x="181633" y="392042"/>
                      </a:cubicBezTo>
                      <a:cubicBezTo>
                        <a:pt x="188999" y="392182"/>
                        <a:pt x="196454" y="390560"/>
                        <a:pt x="204342" y="388809"/>
                      </a:cubicBezTo>
                      <a:cubicBezTo>
                        <a:pt x="216393" y="386138"/>
                        <a:pt x="228866" y="383361"/>
                        <a:pt x="241319" y="387469"/>
                      </a:cubicBezTo>
                      <a:cubicBezTo>
                        <a:pt x="244885" y="388636"/>
                        <a:pt x="248114" y="390276"/>
                        <a:pt x="251230" y="391867"/>
                      </a:cubicBezTo>
                      <a:cubicBezTo>
                        <a:pt x="254313" y="393436"/>
                        <a:pt x="257219" y="394920"/>
                        <a:pt x="260205" y="395824"/>
                      </a:cubicBezTo>
                      <a:cubicBezTo>
                        <a:pt x="265460" y="397423"/>
                        <a:pt x="271469" y="397325"/>
                        <a:pt x="277239" y="397222"/>
                      </a:cubicBezTo>
                      <a:lnTo>
                        <a:pt x="315102" y="396580"/>
                      </a:lnTo>
                      <a:cubicBezTo>
                        <a:pt x="342601" y="396120"/>
                        <a:pt x="366969" y="394688"/>
                        <a:pt x="385957" y="382117"/>
                      </a:cubicBezTo>
                      <a:cubicBezTo>
                        <a:pt x="388618" y="364592"/>
                        <a:pt x="387261" y="346461"/>
                        <a:pt x="382004" y="329542"/>
                      </a:cubicBezTo>
                      <a:lnTo>
                        <a:pt x="380690" y="325326"/>
                      </a:lnTo>
                      <a:lnTo>
                        <a:pt x="384605" y="323281"/>
                      </a:lnTo>
                      <a:cubicBezTo>
                        <a:pt x="392271" y="319288"/>
                        <a:pt x="401366" y="318496"/>
                        <a:pt x="409556" y="321093"/>
                      </a:cubicBezTo>
                      <a:lnTo>
                        <a:pt x="412180" y="321925"/>
                      </a:lnTo>
                      <a:lnTo>
                        <a:pt x="413006" y="324547"/>
                      </a:lnTo>
                      <a:cubicBezTo>
                        <a:pt x="414533" y="329382"/>
                        <a:pt x="418392" y="333553"/>
                        <a:pt x="423592" y="335984"/>
                      </a:cubicBezTo>
                      <a:cubicBezTo>
                        <a:pt x="428770" y="338418"/>
                        <a:pt x="434439" y="338721"/>
                        <a:pt x="439151" y="336792"/>
                      </a:cubicBezTo>
                      <a:cubicBezTo>
                        <a:pt x="443833" y="334876"/>
                        <a:pt x="447669" y="330694"/>
                        <a:pt x="449657" y="325310"/>
                      </a:cubicBezTo>
                      <a:cubicBezTo>
                        <a:pt x="451654" y="319932"/>
                        <a:pt x="451477" y="314256"/>
                        <a:pt x="449169" y="309744"/>
                      </a:cubicBezTo>
                      <a:lnTo>
                        <a:pt x="445495" y="302552"/>
                      </a:lnTo>
                      <a:lnTo>
                        <a:pt x="457180" y="301826"/>
                      </a:lnTo>
                      <a:cubicBezTo>
                        <a:pt x="455872" y="300942"/>
                        <a:pt x="454506" y="300108"/>
                        <a:pt x="453297" y="299144"/>
                      </a:cubicBezTo>
                      <a:cubicBezTo>
                        <a:pt x="444423" y="292078"/>
                        <a:pt x="438755" y="280975"/>
                        <a:pt x="437742" y="268675"/>
                      </a:cubicBezTo>
                      <a:cubicBezTo>
                        <a:pt x="436739" y="256380"/>
                        <a:pt x="440519" y="244504"/>
                        <a:pt x="448129" y="236088"/>
                      </a:cubicBezTo>
                      <a:cubicBezTo>
                        <a:pt x="450673" y="233263"/>
                        <a:pt x="453500" y="230879"/>
                        <a:pt x="456233" y="228576"/>
                      </a:cubicBezTo>
                      <a:cubicBezTo>
                        <a:pt x="458546" y="226629"/>
                        <a:pt x="460869" y="224688"/>
                        <a:pt x="462922" y="222486"/>
                      </a:cubicBezTo>
                      <a:cubicBezTo>
                        <a:pt x="472363" y="212382"/>
                        <a:pt x="475447" y="197431"/>
                        <a:pt x="478161" y="184236"/>
                      </a:cubicBezTo>
                      <a:cubicBezTo>
                        <a:pt x="478520" y="182530"/>
                        <a:pt x="478998" y="180199"/>
                        <a:pt x="478514" y="178959"/>
                      </a:cubicBezTo>
                      <a:cubicBezTo>
                        <a:pt x="477924" y="177465"/>
                        <a:pt x="475276" y="176021"/>
                        <a:pt x="473530" y="175074"/>
                      </a:cubicBezTo>
                      <a:lnTo>
                        <a:pt x="421386" y="146710"/>
                      </a:lnTo>
                      <a:cubicBezTo>
                        <a:pt x="416340" y="143965"/>
                        <a:pt x="410055" y="140554"/>
                        <a:pt x="405967" y="134710"/>
                      </a:cubicBezTo>
                      <a:cubicBezTo>
                        <a:pt x="404169" y="132137"/>
                        <a:pt x="402916" y="129333"/>
                        <a:pt x="401707" y="126622"/>
                      </a:cubicBezTo>
                      <a:cubicBezTo>
                        <a:pt x="399561" y="121818"/>
                        <a:pt x="398080" y="118841"/>
                        <a:pt x="395540" y="117981"/>
                      </a:cubicBezTo>
                      <a:cubicBezTo>
                        <a:pt x="394326" y="117560"/>
                        <a:pt x="392673" y="117634"/>
                        <a:pt x="390749" y="117691"/>
                      </a:cubicBezTo>
                      <a:cubicBezTo>
                        <a:pt x="388910" y="117756"/>
                        <a:pt x="387005" y="117796"/>
                        <a:pt x="385185" y="117552"/>
                      </a:cubicBezTo>
                      <a:cubicBezTo>
                        <a:pt x="369798" y="115475"/>
                        <a:pt x="364550" y="96994"/>
                        <a:pt x="362829" y="90920"/>
                      </a:cubicBezTo>
                      <a:cubicBezTo>
                        <a:pt x="355998" y="66785"/>
                        <a:pt x="350548" y="42012"/>
                        <a:pt x="346619" y="17254"/>
                      </a:cubicBezTo>
                      <a:cubicBezTo>
                        <a:pt x="343287" y="14331"/>
                        <a:pt x="338445" y="14161"/>
                        <a:pt x="334789" y="15053"/>
                      </a:cubicBezTo>
                      <a:cubicBezTo>
                        <a:pt x="330773" y="16039"/>
                        <a:pt x="326078" y="18851"/>
                        <a:pt x="324936" y="23782"/>
                      </a:cubicBezTo>
                      <a:lnTo>
                        <a:pt x="323884" y="28357"/>
                      </a:lnTo>
                      <a:lnTo>
                        <a:pt x="319205" y="27854"/>
                      </a:lnTo>
                      <a:cubicBezTo>
                        <a:pt x="300397" y="25833"/>
                        <a:pt x="281789" y="21659"/>
                        <a:pt x="263932" y="15463"/>
                      </a:cubicBezTo>
                      <a:cubicBezTo>
                        <a:pt x="251857" y="13417"/>
                        <a:pt x="239028" y="10127"/>
                        <a:pt x="226635" y="5895"/>
                      </a:cubicBezTo>
                      <a:cubicBezTo>
                        <a:pt x="222327" y="4426"/>
                        <a:pt x="217662" y="2544"/>
                        <a:pt x="213366" y="0"/>
                      </a:cubicBezTo>
                      <a:cubicBezTo>
                        <a:pt x="213259" y="36"/>
                        <a:pt x="213198" y="-3"/>
                        <a:pt x="213083" y="44"/>
                      </a:cubicBezTo>
                      <a:cubicBezTo>
                        <a:pt x="209670" y="1398"/>
                        <a:pt x="205512" y="6927"/>
                        <a:pt x="205066" y="12293"/>
                      </a:cubicBezTo>
                      <a:cubicBezTo>
                        <a:pt x="204906" y="14209"/>
                        <a:pt x="204826" y="16205"/>
                        <a:pt x="204751" y="18216"/>
                      </a:cubicBezTo>
                      <a:cubicBezTo>
                        <a:pt x="204405" y="27424"/>
                        <a:pt x="203963" y="38876"/>
                        <a:pt x="194742" y="44992"/>
                      </a:cubicBezTo>
                      <a:cubicBezTo>
                        <a:pt x="188957" y="48815"/>
                        <a:pt x="182339" y="48613"/>
                        <a:pt x="176544" y="48423"/>
                      </a:cubicBezTo>
                      <a:cubicBezTo>
                        <a:pt x="174134" y="48342"/>
                        <a:pt x="171682" y="48252"/>
                        <a:pt x="169356" y="48507"/>
                      </a:cubicBezTo>
                      <a:cubicBezTo>
                        <a:pt x="164913" y="48995"/>
                        <a:pt x="160324" y="50891"/>
                        <a:pt x="155467" y="52899"/>
                      </a:cubicBezTo>
                      <a:cubicBezTo>
                        <a:pt x="151018" y="54740"/>
                        <a:pt x="146253" y="56684"/>
                        <a:pt x="141326" y="57525"/>
                      </a:cubicBezTo>
                      <a:lnTo>
                        <a:pt x="140345" y="58237"/>
                      </a:lnTo>
                      <a:cubicBezTo>
                        <a:pt x="141321" y="61514"/>
                        <a:pt x="140698" y="65418"/>
                        <a:pt x="138652" y="68240"/>
                      </a:cubicBezTo>
                      <a:cubicBezTo>
                        <a:pt x="137760" y="69464"/>
                        <a:pt x="136674" y="70562"/>
                        <a:pt x="135574" y="71640"/>
                      </a:cubicBezTo>
                      <a:cubicBezTo>
                        <a:pt x="134578" y="72614"/>
                        <a:pt x="133551" y="73626"/>
                        <a:pt x="133340" y="74310"/>
                      </a:cubicBezTo>
                      <a:cubicBezTo>
                        <a:pt x="134755" y="76859"/>
                        <a:pt x="139723" y="78555"/>
                        <a:pt x="144285" y="78618"/>
                      </a:cubicBezTo>
                      <a:cubicBezTo>
                        <a:pt x="150905" y="78672"/>
                        <a:pt x="159644" y="80184"/>
                        <a:pt x="164120" y="85224"/>
                      </a:cubicBezTo>
                      <a:cubicBezTo>
                        <a:pt x="166489" y="87901"/>
                        <a:pt x="167485" y="91191"/>
                        <a:pt x="167004" y="94754"/>
                      </a:cubicBezTo>
                      <a:lnTo>
                        <a:pt x="166643" y="97395"/>
                      </a:lnTo>
                      <a:lnTo>
                        <a:pt x="128714" y="118262"/>
                      </a:lnTo>
                      <a:cubicBezTo>
                        <a:pt x="126253" y="119621"/>
                        <a:pt x="122155" y="121848"/>
                        <a:pt x="117417" y="120793"/>
                      </a:cubicBezTo>
                      <a:cubicBezTo>
                        <a:pt x="114879" y="120201"/>
                        <a:pt x="113038" y="118839"/>
                        <a:pt x="111561" y="117750"/>
                      </a:cubicBezTo>
                      <a:cubicBezTo>
                        <a:pt x="111083" y="117395"/>
                        <a:pt x="110603" y="117028"/>
                        <a:pt x="110094" y="116731"/>
                      </a:cubicBezTo>
                      <a:cubicBezTo>
                        <a:pt x="108661" y="115893"/>
                        <a:pt x="106965" y="115844"/>
                        <a:pt x="105005" y="116609"/>
                      </a:cubicBezTo>
                      <a:cubicBezTo>
                        <a:pt x="101777" y="117865"/>
                        <a:pt x="98811" y="121078"/>
                        <a:pt x="97771" y="124425"/>
                      </a:cubicBezTo>
                      <a:cubicBezTo>
                        <a:pt x="95984" y="130215"/>
                        <a:pt x="97077" y="136764"/>
                        <a:pt x="98246" y="143696"/>
                      </a:cubicBezTo>
                      <a:lnTo>
                        <a:pt x="98940" y="147937"/>
                      </a:lnTo>
                      <a:cubicBezTo>
                        <a:pt x="100943" y="161089"/>
                        <a:pt x="98996" y="170644"/>
                        <a:pt x="92985" y="177154"/>
                      </a:cubicBezTo>
                      <a:cubicBezTo>
                        <a:pt x="86419" y="184271"/>
                        <a:pt x="76686" y="185710"/>
                        <a:pt x="68112" y="186979"/>
                      </a:cubicBezTo>
                      <a:cubicBezTo>
                        <a:pt x="59889" y="188193"/>
                        <a:pt x="52778" y="189246"/>
                        <a:pt x="49341" y="194355"/>
                      </a:cubicBezTo>
                      <a:lnTo>
                        <a:pt x="41957" y="205323"/>
                      </a:lnTo>
                      <a:lnTo>
                        <a:pt x="39728" y="192293"/>
                      </a:lnTo>
                      <a:cubicBezTo>
                        <a:pt x="39349" y="190097"/>
                        <a:pt x="37875" y="188023"/>
                        <a:pt x="35693" y="186604"/>
                      </a:cubicBezTo>
                      <a:cubicBezTo>
                        <a:pt x="35328" y="186368"/>
                        <a:pt x="34966" y="186157"/>
                        <a:pt x="34582" y="185974"/>
                      </a:cubicBezTo>
                      <a:cubicBezTo>
                        <a:pt x="35512" y="195773"/>
                        <a:pt x="30741" y="206178"/>
                        <a:pt x="21937" y="211696"/>
                      </a:cubicBezTo>
                      <a:cubicBezTo>
                        <a:pt x="17369" y="214547"/>
                        <a:pt x="12020" y="215974"/>
                        <a:pt x="6601" y="216014"/>
                      </a:cubicBezTo>
                      <a:cubicBezTo>
                        <a:pt x="4393" y="216032"/>
                        <a:pt x="2187" y="215737"/>
                        <a:pt x="0" y="215298"/>
                      </a:cubicBezTo>
                      <a:lnTo>
                        <a:pt x="17857" y="271677"/>
                      </a:lnTo>
                      <a:cubicBezTo>
                        <a:pt x="19245" y="276071"/>
                        <a:pt x="21143" y="282083"/>
                        <a:pt x="19626" y="28813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0" name="Forma libre 139">
                  <a:extLst>
                    <a:ext uri="{FF2B5EF4-FFF2-40B4-BE49-F238E27FC236}">
                      <a16:creationId xmlns:a16="http://schemas.microsoft.com/office/drawing/2014/main" id="{30AED8D7-24B7-6E47-8C88-258331EA7DA9}"/>
                    </a:ext>
                  </a:extLst>
                </p:cNvPr>
                <p:cNvSpPr/>
                <p:nvPr/>
              </p:nvSpPr>
              <p:spPr>
                <a:xfrm>
                  <a:off x="6207506" y="2695651"/>
                  <a:ext cx="1043427" cy="546345"/>
                </a:xfrm>
                <a:custGeom>
                  <a:avLst/>
                  <a:gdLst>
                    <a:gd name="connsiteX0" fmla="*/ 1039214 w 1043427"/>
                    <a:gd name="connsiteY0" fmla="*/ 239270 h 546345"/>
                    <a:gd name="connsiteX1" fmla="*/ 1030999 w 1043427"/>
                    <a:gd name="connsiteY1" fmla="*/ 224873 h 546345"/>
                    <a:gd name="connsiteX2" fmla="*/ 1023183 w 1043427"/>
                    <a:gd name="connsiteY2" fmla="*/ 211558 h 546345"/>
                    <a:gd name="connsiteX3" fmla="*/ 1022448 w 1043427"/>
                    <a:gd name="connsiteY3" fmla="*/ 175534 h 546345"/>
                    <a:gd name="connsiteX4" fmla="*/ 1027794 w 1043427"/>
                    <a:gd name="connsiteY4" fmla="*/ 168460 h 546345"/>
                    <a:gd name="connsiteX5" fmla="*/ 1033754 w 1043427"/>
                    <a:gd name="connsiteY5" fmla="*/ 156315 h 546345"/>
                    <a:gd name="connsiteX6" fmla="*/ 1029776 w 1043427"/>
                    <a:gd name="connsiteY6" fmla="*/ 154193 h 546345"/>
                    <a:gd name="connsiteX7" fmla="*/ 914976 w 1043427"/>
                    <a:gd name="connsiteY7" fmla="*/ 144055 h 546345"/>
                    <a:gd name="connsiteX8" fmla="*/ 896503 w 1043427"/>
                    <a:gd name="connsiteY8" fmla="*/ 148336 h 546345"/>
                    <a:gd name="connsiteX9" fmla="*/ 910077 w 1043427"/>
                    <a:gd name="connsiteY9" fmla="*/ 135105 h 546345"/>
                    <a:gd name="connsiteX10" fmla="*/ 902062 w 1043427"/>
                    <a:gd name="connsiteY10" fmla="*/ 132464 h 546345"/>
                    <a:gd name="connsiteX11" fmla="*/ 896319 w 1043427"/>
                    <a:gd name="connsiteY11" fmla="*/ 134570 h 546345"/>
                    <a:gd name="connsiteX12" fmla="*/ 875178 w 1043427"/>
                    <a:gd name="connsiteY12" fmla="*/ 136110 h 546345"/>
                    <a:gd name="connsiteX13" fmla="*/ 866231 w 1043427"/>
                    <a:gd name="connsiteY13" fmla="*/ 126321 h 546345"/>
                    <a:gd name="connsiteX14" fmla="*/ 860830 w 1043427"/>
                    <a:gd name="connsiteY14" fmla="*/ 120508 h 546345"/>
                    <a:gd name="connsiteX15" fmla="*/ 857854 w 1043427"/>
                    <a:gd name="connsiteY15" fmla="*/ 120902 h 546345"/>
                    <a:gd name="connsiteX16" fmla="*/ 848584 w 1043427"/>
                    <a:gd name="connsiteY16" fmla="*/ 120604 h 546345"/>
                    <a:gd name="connsiteX17" fmla="*/ 841440 w 1043427"/>
                    <a:gd name="connsiteY17" fmla="*/ 112595 h 546345"/>
                    <a:gd name="connsiteX18" fmla="*/ 839982 w 1043427"/>
                    <a:gd name="connsiteY18" fmla="*/ 109974 h 546345"/>
                    <a:gd name="connsiteX19" fmla="*/ 836336 w 1043427"/>
                    <a:gd name="connsiteY19" fmla="*/ 107948 h 546345"/>
                    <a:gd name="connsiteX20" fmla="*/ 823357 w 1043427"/>
                    <a:gd name="connsiteY20" fmla="*/ 112254 h 546345"/>
                    <a:gd name="connsiteX21" fmla="*/ 819061 w 1043427"/>
                    <a:gd name="connsiteY21" fmla="*/ 115729 h 546345"/>
                    <a:gd name="connsiteX22" fmla="*/ 797461 w 1043427"/>
                    <a:gd name="connsiteY22" fmla="*/ 126555 h 546345"/>
                    <a:gd name="connsiteX23" fmla="*/ 794751 w 1043427"/>
                    <a:gd name="connsiteY23" fmla="*/ 126633 h 546345"/>
                    <a:gd name="connsiteX24" fmla="*/ 793103 w 1043427"/>
                    <a:gd name="connsiteY24" fmla="*/ 124476 h 546345"/>
                    <a:gd name="connsiteX25" fmla="*/ 752653 w 1043427"/>
                    <a:gd name="connsiteY25" fmla="*/ 115310 h 546345"/>
                    <a:gd name="connsiteX26" fmla="*/ 747330 w 1043427"/>
                    <a:gd name="connsiteY26" fmla="*/ 115785 h 546345"/>
                    <a:gd name="connsiteX27" fmla="*/ 746897 w 1043427"/>
                    <a:gd name="connsiteY27" fmla="*/ 110455 h 546345"/>
                    <a:gd name="connsiteX28" fmla="*/ 728316 w 1043427"/>
                    <a:gd name="connsiteY28" fmla="*/ 74049 h 546345"/>
                    <a:gd name="connsiteX29" fmla="*/ 713322 w 1043427"/>
                    <a:gd name="connsiteY29" fmla="*/ 75852 h 546345"/>
                    <a:gd name="connsiteX30" fmla="*/ 708882 w 1043427"/>
                    <a:gd name="connsiteY30" fmla="*/ 76957 h 546345"/>
                    <a:gd name="connsiteX31" fmla="*/ 676744 w 1043427"/>
                    <a:gd name="connsiteY31" fmla="*/ 77916 h 546345"/>
                    <a:gd name="connsiteX32" fmla="*/ 654754 w 1043427"/>
                    <a:gd name="connsiteY32" fmla="*/ 64055 h 546345"/>
                    <a:gd name="connsiteX33" fmla="*/ 652959 w 1043427"/>
                    <a:gd name="connsiteY33" fmla="*/ 49446 h 546345"/>
                    <a:gd name="connsiteX34" fmla="*/ 655089 w 1043427"/>
                    <a:gd name="connsiteY34" fmla="*/ 5274 h 546345"/>
                    <a:gd name="connsiteX35" fmla="*/ 610287 w 1043427"/>
                    <a:gd name="connsiteY35" fmla="*/ 274 h 546345"/>
                    <a:gd name="connsiteX36" fmla="*/ 594868 w 1043427"/>
                    <a:gd name="connsiteY36" fmla="*/ 2069 h 546345"/>
                    <a:gd name="connsiteX37" fmla="*/ 546871 w 1043427"/>
                    <a:gd name="connsiteY37" fmla="*/ 12912 h 546345"/>
                    <a:gd name="connsiteX38" fmla="*/ 547410 w 1043427"/>
                    <a:gd name="connsiteY38" fmla="*/ 13835 h 546345"/>
                    <a:gd name="connsiteX39" fmla="*/ 537655 w 1043427"/>
                    <a:gd name="connsiteY39" fmla="*/ 17940 h 546345"/>
                    <a:gd name="connsiteX40" fmla="*/ 535317 w 1043427"/>
                    <a:gd name="connsiteY40" fmla="*/ 14389 h 546345"/>
                    <a:gd name="connsiteX41" fmla="*/ 526184 w 1043427"/>
                    <a:gd name="connsiteY41" fmla="*/ 14961 h 546345"/>
                    <a:gd name="connsiteX42" fmla="*/ 524686 w 1043427"/>
                    <a:gd name="connsiteY42" fmla="*/ 31765 h 546345"/>
                    <a:gd name="connsiteX43" fmla="*/ 508248 w 1043427"/>
                    <a:gd name="connsiteY43" fmla="*/ 49366 h 546345"/>
                    <a:gd name="connsiteX44" fmla="*/ 484181 w 1043427"/>
                    <a:gd name="connsiteY44" fmla="*/ 48343 h 546345"/>
                    <a:gd name="connsiteX45" fmla="*/ 469082 w 1043427"/>
                    <a:gd name="connsiteY45" fmla="*/ 33361 h 546345"/>
                    <a:gd name="connsiteX46" fmla="*/ 458567 w 1043427"/>
                    <a:gd name="connsiteY46" fmla="*/ 33852 h 546345"/>
                    <a:gd name="connsiteX47" fmla="*/ 461131 w 1043427"/>
                    <a:gd name="connsiteY47" fmla="*/ 88864 h 546345"/>
                    <a:gd name="connsiteX48" fmla="*/ 460765 w 1043427"/>
                    <a:gd name="connsiteY48" fmla="*/ 91012 h 546345"/>
                    <a:gd name="connsiteX49" fmla="*/ 458986 w 1043427"/>
                    <a:gd name="connsiteY49" fmla="*/ 92278 h 546345"/>
                    <a:gd name="connsiteX50" fmla="*/ 380376 w 1043427"/>
                    <a:gd name="connsiteY50" fmla="*/ 109939 h 546345"/>
                    <a:gd name="connsiteX51" fmla="*/ 342514 w 1043427"/>
                    <a:gd name="connsiteY51" fmla="*/ 110581 h 546345"/>
                    <a:gd name="connsiteX52" fmla="*/ 322228 w 1043427"/>
                    <a:gd name="connsiteY52" fmla="*/ 108729 h 546345"/>
                    <a:gd name="connsiteX53" fmla="*/ 311508 w 1043427"/>
                    <a:gd name="connsiteY53" fmla="*/ 104074 h 546345"/>
                    <a:gd name="connsiteX54" fmla="*/ 303101 w 1043427"/>
                    <a:gd name="connsiteY54" fmla="*/ 100295 h 546345"/>
                    <a:gd name="connsiteX55" fmla="*/ 271735 w 1043427"/>
                    <a:gd name="connsiteY55" fmla="*/ 101919 h 546345"/>
                    <a:gd name="connsiteX56" fmla="*/ 246470 w 1043427"/>
                    <a:gd name="connsiteY56" fmla="*/ 105393 h 546345"/>
                    <a:gd name="connsiteX57" fmla="*/ 203077 w 1043427"/>
                    <a:gd name="connsiteY57" fmla="*/ 90757 h 546345"/>
                    <a:gd name="connsiteX58" fmla="*/ 189486 w 1043427"/>
                    <a:gd name="connsiteY58" fmla="*/ 84011 h 546345"/>
                    <a:gd name="connsiteX59" fmla="*/ 140427 w 1043427"/>
                    <a:gd name="connsiteY59" fmla="*/ 86317 h 546345"/>
                    <a:gd name="connsiteX60" fmla="*/ 129769 w 1043427"/>
                    <a:gd name="connsiteY60" fmla="*/ 98230 h 546345"/>
                    <a:gd name="connsiteX61" fmla="*/ 131200 w 1043427"/>
                    <a:gd name="connsiteY61" fmla="*/ 82313 h 546345"/>
                    <a:gd name="connsiteX62" fmla="*/ 130006 w 1043427"/>
                    <a:gd name="connsiteY62" fmla="*/ 80366 h 546345"/>
                    <a:gd name="connsiteX63" fmla="*/ 122690 w 1043427"/>
                    <a:gd name="connsiteY63" fmla="*/ 79660 h 546345"/>
                    <a:gd name="connsiteX64" fmla="*/ 112875 w 1043427"/>
                    <a:gd name="connsiteY64" fmla="*/ 89410 h 546345"/>
                    <a:gd name="connsiteX65" fmla="*/ 109515 w 1043427"/>
                    <a:gd name="connsiteY65" fmla="*/ 93703 h 546345"/>
                    <a:gd name="connsiteX66" fmla="*/ 75396 w 1043427"/>
                    <a:gd name="connsiteY66" fmla="*/ 113851 h 546345"/>
                    <a:gd name="connsiteX67" fmla="*/ 75136 w 1043427"/>
                    <a:gd name="connsiteY67" fmla="*/ 115739 h 546345"/>
                    <a:gd name="connsiteX68" fmla="*/ 83402 w 1043427"/>
                    <a:gd name="connsiteY68" fmla="*/ 135474 h 546345"/>
                    <a:gd name="connsiteX69" fmla="*/ 97396 w 1043427"/>
                    <a:gd name="connsiteY69" fmla="*/ 219590 h 546345"/>
                    <a:gd name="connsiteX70" fmla="*/ 72936 w 1043427"/>
                    <a:gd name="connsiteY70" fmla="*/ 242162 h 546345"/>
                    <a:gd name="connsiteX71" fmla="*/ 52356 w 1043427"/>
                    <a:gd name="connsiteY71" fmla="*/ 260131 h 546345"/>
                    <a:gd name="connsiteX72" fmla="*/ 43932 w 1043427"/>
                    <a:gd name="connsiteY72" fmla="*/ 277280 h 546345"/>
                    <a:gd name="connsiteX73" fmla="*/ 34905 w 1043427"/>
                    <a:gd name="connsiteY73" fmla="*/ 299895 h 546345"/>
                    <a:gd name="connsiteX74" fmla="*/ 1534 w 1043427"/>
                    <a:gd name="connsiteY74" fmla="*/ 388888 h 546345"/>
                    <a:gd name="connsiteX75" fmla="*/ 212 w 1043427"/>
                    <a:gd name="connsiteY75" fmla="*/ 397512 h 546345"/>
                    <a:gd name="connsiteX76" fmla="*/ 11315 w 1043427"/>
                    <a:gd name="connsiteY76" fmla="*/ 405102 h 546345"/>
                    <a:gd name="connsiteX77" fmla="*/ 80314 w 1043427"/>
                    <a:gd name="connsiteY77" fmla="*/ 413615 h 546345"/>
                    <a:gd name="connsiteX78" fmla="*/ 207690 w 1043427"/>
                    <a:gd name="connsiteY78" fmla="*/ 398450 h 546345"/>
                    <a:gd name="connsiteX79" fmla="*/ 224724 w 1043427"/>
                    <a:gd name="connsiteY79" fmla="*/ 388920 h 546345"/>
                    <a:gd name="connsiteX80" fmla="*/ 226086 w 1043427"/>
                    <a:gd name="connsiteY80" fmla="*/ 384286 h 546345"/>
                    <a:gd name="connsiteX81" fmla="*/ 229236 w 1043427"/>
                    <a:gd name="connsiteY81" fmla="*/ 375596 h 546345"/>
                    <a:gd name="connsiteX82" fmla="*/ 253594 w 1043427"/>
                    <a:gd name="connsiteY82" fmla="*/ 365857 h 546345"/>
                    <a:gd name="connsiteX83" fmla="*/ 255992 w 1043427"/>
                    <a:gd name="connsiteY83" fmla="*/ 365705 h 546345"/>
                    <a:gd name="connsiteX84" fmla="*/ 292698 w 1043427"/>
                    <a:gd name="connsiteY84" fmla="*/ 355675 h 546345"/>
                    <a:gd name="connsiteX85" fmla="*/ 326877 w 1043427"/>
                    <a:gd name="connsiteY85" fmla="*/ 345551 h 546345"/>
                    <a:gd name="connsiteX86" fmla="*/ 374899 w 1043427"/>
                    <a:gd name="connsiteY86" fmla="*/ 362134 h 546345"/>
                    <a:gd name="connsiteX87" fmla="*/ 383449 w 1043427"/>
                    <a:gd name="connsiteY87" fmla="*/ 383552 h 546345"/>
                    <a:gd name="connsiteX88" fmla="*/ 409964 w 1043427"/>
                    <a:gd name="connsiteY88" fmla="*/ 387140 h 546345"/>
                    <a:gd name="connsiteX89" fmla="*/ 430080 w 1043427"/>
                    <a:gd name="connsiteY89" fmla="*/ 416032 h 546345"/>
                    <a:gd name="connsiteX90" fmla="*/ 428047 w 1043427"/>
                    <a:gd name="connsiteY90" fmla="*/ 424817 h 546345"/>
                    <a:gd name="connsiteX91" fmla="*/ 426658 w 1043427"/>
                    <a:gd name="connsiteY91" fmla="*/ 434054 h 546345"/>
                    <a:gd name="connsiteX92" fmla="*/ 432621 w 1043427"/>
                    <a:gd name="connsiteY92" fmla="*/ 441685 h 546345"/>
                    <a:gd name="connsiteX93" fmla="*/ 495562 w 1043427"/>
                    <a:gd name="connsiteY93" fmla="*/ 534766 h 546345"/>
                    <a:gd name="connsiteX94" fmla="*/ 492409 w 1043427"/>
                    <a:gd name="connsiteY94" fmla="*/ 536017 h 546345"/>
                    <a:gd name="connsiteX95" fmla="*/ 492679 w 1043427"/>
                    <a:gd name="connsiteY95" fmla="*/ 536131 h 546345"/>
                    <a:gd name="connsiteX96" fmla="*/ 513144 w 1043427"/>
                    <a:gd name="connsiteY96" fmla="*/ 546334 h 546345"/>
                    <a:gd name="connsiteX97" fmla="*/ 517462 w 1043427"/>
                    <a:gd name="connsiteY97" fmla="*/ 504550 h 546345"/>
                    <a:gd name="connsiteX98" fmla="*/ 581296 w 1043427"/>
                    <a:gd name="connsiteY98" fmla="*/ 479770 h 546345"/>
                    <a:gd name="connsiteX99" fmla="*/ 598803 w 1043427"/>
                    <a:gd name="connsiteY99" fmla="*/ 442435 h 546345"/>
                    <a:gd name="connsiteX100" fmla="*/ 598353 w 1043427"/>
                    <a:gd name="connsiteY100" fmla="*/ 520158 h 546345"/>
                    <a:gd name="connsiteX101" fmla="*/ 631611 w 1043427"/>
                    <a:gd name="connsiteY101" fmla="*/ 521362 h 546345"/>
                    <a:gd name="connsiteX102" fmla="*/ 666871 w 1043427"/>
                    <a:gd name="connsiteY102" fmla="*/ 509082 h 546345"/>
                    <a:gd name="connsiteX103" fmla="*/ 677042 w 1043427"/>
                    <a:gd name="connsiteY103" fmla="*/ 522031 h 546345"/>
                    <a:gd name="connsiteX104" fmla="*/ 706177 w 1043427"/>
                    <a:gd name="connsiteY104" fmla="*/ 525709 h 546345"/>
                    <a:gd name="connsiteX105" fmla="*/ 712841 w 1043427"/>
                    <a:gd name="connsiteY105" fmla="*/ 497106 h 546345"/>
                    <a:gd name="connsiteX106" fmla="*/ 763046 w 1043427"/>
                    <a:gd name="connsiteY106" fmla="*/ 504738 h 546345"/>
                    <a:gd name="connsiteX107" fmla="*/ 791638 w 1043427"/>
                    <a:gd name="connsiteY107" fmla="*/ 453181 h 546345"/>
                    <a:gd name="connsiteX108" fmla="*/ 815989 w 1043427"/>
                    <a:gd name="connsiteY108" fmla="*/ 476658 h 546345"/>
                    <a:gd name="connsiteX109" fmla="*/ 875229 w 1043427"/>
                    <a:gd name="connsiteY109" fmla="*/ 431196 h 546345"/>
                    <a:gd name="connsiteX110" fmla="*/ 892690 w 1043427"/>
                    <a:gd name="connsiteY110" fmla="*/ 432796 h 546345"/>
                    <a:gd name="connsiteX111" fmla="*/ 921570 w 1043427"/>
                    <a:gd name="connsiteY111" fmla="*/ 403097 h 546345"/>
                    <a:gd name="connsiteX112" fmla="*/ 957320 w 1043427"/>
                    <a:gd name="connsiteY112" fmla="*/ 374925 h 546345"/>
                    <a:gd name="connsiteX113" fmla="*/ 950675 w 1043427"/>
                    <a:gd name="connsiteY113" fmla="*/ 329807 h 546345"/>
                    <a:gd name="connsiteX114" fmla="*/ 951326 w 1043427"/>
                    <a:gd name="connsiteY114" fmla="*/ 326815 h 546345"/>
                    <a:gd name="connsiteX115" fmla="*/ 954246 w 1043427"/>
                    <a:gd name="connsiteY115" fmla="*/ 325884 h 546345"/>
                    <a:gd name="connsiteX116" fmla="*/ 1020170 w 1043427"/>
                    <a:gd name="connsiteY116" fmla="*/ 284100 h 546345"/>
                    <a:gd name="connsiteX117" fmla="*/ 1024530 w 1043427"/>
                    <a:gd name="connsiteY117" fmla="*/ 279413 h 546345"/>
                    <a:gd name="connsiteX118" fmla="*/ 1028314 w 1043427"/>
                    <a:gd name="connsiteY118" fmla="*/ 284586 h 546345"/>
                    <a:gd name="connsiteX119" fmla="*/ 1030637 w 1043427"/>
                    <a:gd name="connsiteY119" fmla="*/ 285491 h 546345"/>
                    <a:gd name="connsiteX120" fmla="*/ 1041006 w 1043427"/>
                    <a:gd name="connsiteY120" fmla="*/ 275194 h 546345"/>
                    <a:gd name="connsiteX121" fmla="*/ 1039214 w 1043427"/>
                    <a:gd name="connsiteY121" fmla="*/ 239270 h 5463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</a:cxnLst>
                  <a:rect l="l" t="t" r="r" b="b"/>
                  <a:pathLst>
                    <a:path w="1043427" h="546345">
                      <a:moveTo>
                        <a:pt x="1039214" y="239270"/>
                      </a:moveTo>
                      <a:cubicBezTo>
                        <a:pt x="1037048" y="234328"/>
                        <a:pt x="1034107" y="229737"/>
                        <a:pt x="1030999" y="224873"/>
                      </a:cubicBezTo>
                      <a:cubicBezTo>
                        <a:pt x="1028287" y="220643"/>
                        <a:pt x="1025493" y="216268"/>
                        <a:pt x="1023183" y="211558"/>
                      </a:cubicBezTo>
                      <a:cubicBezTo>
                        <a:pt x="1016619" y="198174"/>
                        <a:pt x="1016345" y="185039"/>
                        <a:pt x="1022448" y="175534"/>
                      </a:cubicBezTo>
                      <a:cubicBezTo>
                        <a:pt x="1023930" y="173223"/>
                        <a:pt x="1025857" y="170842"/>
                        <a:pt x="1027794" y="168460"/>
                      </a:cubicBezTo>
                      <a:cubicBezTo>
                        <a:pt x="1033329" y="161681"/>
                        <a:pt x="1035497" y="158318"/>
                        <a:pt x="1033754" y="156315"/>
                      </a:cubicBezTo>
                      <a:cubicBezTo>
                        <a:pt x="1033032" y="155492"/>
                        <a:pt x="1031467" y="154841"/>
                        <a:pt x="1029776" y="154193"/>
                      </a:cubicBezTo>
                      <a:cubicBezTo>
                        <a:pt x="990733" y="139205"/>
                        <a:pt x="951021" y="135706"/>
                        <a:pt x="914976" y="144055"/>
                      </a:cubicBezTo>
                      <a:lnTo>
                        <a:pt x="896503" y="148336"/>
                      </a:lnTo>
                      <a:lnTo>
                        <a:pt x="910077" y="135105"/>
                      </a:lnTo>
                      <a:cubicBezTo>
                        <a:pt x="909680" y="134368"/>
                        <a:pt x="905231" y="131552"/>
                        <a:pt x="902062" y="132464"/>
                      </a:cubicBezTo>
                      <a:cubicBezTo>
                        <a:pt x="900165" y="133006"/>
                        <a:pt x="898246" y="133792"/>
                        <a:pt x="896319" y="134570"/>
                      </a:cubicBezTo>
                      <a:cubicBezTo>
                        <a:pt x="890183" y="137047"/>
                        <a:pt x="882512" y="140134"/>
                        <a:pt x="875178" y="136110"/>
                      </a:cubicBezTo>
                      <a:cubicBezTo>
                        <a:pt x="870933" y="133773"/>
                        <a:pt x="868428" y="129816"/>
                        <a:pt x="866231" y="126321"/>
                      </a:cubicBezTo>
                      <a:cubicBezTo>
                        <a:pt x="864022" y="122821"/>
                        <a:pt x="862548" y="120680"/>
                        <a:pt x="860830" y="120508"/>
                      </a:cubicBezTo>
                      <a:cubicBezTo>
                        <a:pt x="860199" y="120462"/>
                        <a:pt x="859020" y="120657"/>
                        <a:pt x="857854" y="120902"/>
                      </a:cubicBezTo>
                      <a:cubicBezTo>
                        <a:pt x="855416" y="121412"/>
                        <a:pt x="852060" y="122089"/>
                        <a:pt x="848584" y="120604"/>
                      </a:cubicBezTo>
                      <a:cubicBezTo>
                        <a:pt x="844538" y="118865"/>
                        <a:pt x="842752" y="115244"/>
                        <a:pt x="841440" y="112595"/>
                      </a:cubicBezTo>
                      <a:cubicBezTo>
                        <a:pt x="840988" y="111688"/>
                        <a:pt x="840568" y="110762"/>
                        <a:pt x="839982" y="109974"/>
                      </a:cubicBezTo>
                      <a:cubicBezTo>
                        <a:pt x="839448" y="109254"/>
                        <a:pt x="838491" y="108258"/>
                        <a:pt x="836336" y="107948"/>
                      </a:cubicBezTo>
                      <a:cubicBezTo>
                        <a:pt x="832732" y="107447"/>
                        <a:pt x="827377" y="109194"/>
                        <a:pt x="823357" y="112254"/>
                      </a:cubicBezTo>
                      <a:cubicBezTo>
                        <a:pt x="821917" y="113350"/>
                        <a:pt x="820488" y="114536"/>
                        <a:pt x="819061" y="115729"/>
                      </a:cubicBezTo>
                      <a:cubicBezTo>
                        <a:pt x="813109" y="120682"/>
                        <a:pt x="806367" y="126296"/>
                        <a:pt x="797461" y="126555"/>
                      </a:cubicBezTo>
                      <a:lnTo>
                        <a:pt x="794751" y="126633"/>
                      </a:lnTo>
                      <a:lnTo>
                        <a:pt x="793103" y="124476"/>
                      </a:lnTo>
                      <a:cubicBezTo>
                        <a:pt x="785028" y="113926"/>
                        <a:pt x="768095" y="113893"/>
                        <a:pt x="752653" y="115310"/>
                      </a:cubicBezTo>
                      <a:lnTo>
                        <a:pt x="747330" y="115785"/>
                      </a:lnTo>
                      <a:lnTo>
                        <a:pt x="746897" y="110455"/>
                      </a:lnTo>
                      <a:cubicBezTo>
                        <a:pt x="745677" y="95256"/>
                        <a:pt x="741461" y="76604"/>
                        <a:pt x="728316" y="74049"/>
                      </a:cubicBezTo>
                      <a:cubicBezTo>
                        <a:pt x="723739" y="73157"/>
                        <a:pt x="718680" y="74457"/>
                        <a:pt x="713322" y="75852"/>
                      </a:cubicBezTo>
                      <a:cubicBezTo>
                        <a:pt x="711845" y="76236"/>
                        <a:pt x="710358" y="76620"/>
                        <a:pt x="708882" y="76957"/>
                      </a:cubicBezTo>
                      <a:cubicBezTo>
                        <a:pt x="698454" y="79372"/>
                        <a:pt x="687318" y="79703"/>
                        <a:pt x="676744" y="77916"/>
                      </a:cubicBezTo>
                      <a:cubicBezTo>
                        <a:pt x="665590" y="76025"/>
                        <a:pt x="657983" y="71230"/>
                        <a:pt x="654754" y="64055"/>
                      </a:cubicBezTo>
                      <a:cubicBezTo>
                        <a:pt x="652493" y="59077"/>
                        <a:pt x="652753" y="53732"/>
                        <a:pt x="652959" y="49446"/>
                      </a:cubicBezTo>
                      <a:lnTo>
                        <a:pt x="655089" y="5274"/>
                      </a:lnTo>
                      <a:cubicBezTo>
                        <a:pt x="640670" y="993"/>
                        <a:pt x="625299" y="-718"/>
                        <a:pt x="610287" y="274"/>
                      </a:cubicBezTo>
                      <a:cubicBezTo>
                        <a:pt x="605129" y="624"/>
                        <a:pt x="599982" y="1286"/>
                        <a:pt x="594868" y="2069"/>
                      </a:cubicBezTo>
                      <a:cubicBezTo>
                        <a:pt x="579644" y="4412"/>
                        <a:pt x="563836" y="8024"/>
                        <a:pt x="546871" y="12912"/>
                      </a:cubicBezTo>
                      <a:cubicBezTo>
                        <a:pt x="547029" y="13240"/>
                        <a:pt x="547265" y="13494"/>
                        <a:pt x="547410" y="13835"/>
                      </a:cubicBezTo>
                      <a:lnTo>
                        <a:pt x="537655" y="17940"/>
                      </a:lnTo>
                      <a:cubicBezTo>
                        <a:pt x="537109" y="16646"/>
                        <a:pt x="536279" y="15487"/>
                        <a:pt x="535317" y="14389"/>
                      </a:cubicBezTo>
                      <a:lnTo>
                        <a:pt x="526184" y="14961"/>
                      </a:lnTo>
                      <a:cubicBezTo>
                        <a:pt x="527228" y="20373"/>
                        <a:pt x="526743" y="26209"/>
                        <a:pt x="524686" y="31765"/>
                      </a:cubicBezTo>
                      <a:cubicBezTo>
                        <a:pt x="521664" y="39910"/>
                        <a:pt x="515672" y="46327"/>
                        <a:pt x="508248" y="49366"/>
                      </a:cubicBezTo>
                      <a:cubicBezTo>
                        <a:pt x="500835" y="52401"/>
                        <a:pt x="492040" y="52032"/>
                        <a:pt x="484181" y="48343"/>
                      </a:cubicBezTo>
                      <a:cubicBezTo>
                        <a:pt x="477310" y="45126"/>
                        <a:pt x="471944" y="39762"/>
                        <a:pt x="469082" y="33361"/>
                      </a:cubicBezTo>
                      <a:cubicBezTo>
                        <a:pt x="465633" y="32693"/>
                        <a:pt x="461973" y="32876"/>
                        <a:pt x="458567" y="33852"/>
                      </a:cubicBezTo>
                      <a:cubicBezTo>
                        <a:pt x="463366" y="51711"/>
                        <a:pt x="464263" y="70628"/>
                        <a:pt x="461131" y="88864"/>
                      </a:cubicBezTo>
                      <a:lnTo>
                        <a:pt x="460765" y="91012"/>
                      </a:lnTo>
                      <a:lnTo>
                        <a:pt x="458986" y="92278"/>
                      </a:lnTo>
                      <a:cubicBezTo>
                        <a:pt x="435507" y="109013"/>
                        <a:pt x="404938" y="109527"/>
                        <a:pt x="380376" y="109939"/>
                      </a:cubicBezTo>
                      <a:lnTo>
                        <a:pt x="342514" y="110581"/>
                      </a:lnTo>
                      <a:cubicBezTo>
                        <a:pt x="336206" y="110668"/>
                        <a:pt x="329081" y="110800"/>
                        <a:pt x="322228" y="108729"/>
                      </a:cubicBezTo>
                      <a:cubicBezTo>
                        <a:pt x="318341" y="107554"/>
                        <a:pt x="314871" y="105787"/>
                        <a:pt x="311508" y="104074"/>
                      </a:cubicBezTo>
                      <a:cubicBezTo>
                        <a:pt x="308621" y="102602"/>
                        <a:pt x="305891" y="101215"/>
                        <a:pt x="303101" y="100295"/>
                      </a:cubicBezTo>
                      <a:cubicBezTo>
                        <a:pt x="293428" y="97119"/>
                        <a:pt x="282874" y="99443"/>
                        <a:pt x="271735" y="101919"/>
                      </a:cubicBezTo>
                      <a:cubicBezTo>
                        <a:pt x="263545" y="103726"/>
                        <a:pt x="255015" y="105630"/>
                        <a:pt x="246470" y="105393"/>
                      </a:cubicBezTo>
                      <a:cubicBezTo>
                        <a:pt x="230591" y="105012"/>
                        <a:pt x="216605" y="97767"/>
                        <a:pt x="203077" y="90757"/>
                      </a:cubicBezTo>
                      <a:cubicBezTo>
                        <a:pt x="198560" y="88416"/>
                        <a:pt x="194053" y="86076"/>
                        <a:pt x="189486" y="84011"/>
                      </a:cubicBezTo>
                      <a:cubicBezTo>
                        <a:pt x="174066" y="77026"/>
                        <a:pt x="151936" y="73444"/>
                        <a:pt x="140427" y="86317"/>
                      </a:cubicBezTo>
                      <a:lnTo>
                        <a:pt x="129769" y="98230"/>
                      </a:lnTo>
                      <a:lnTo>
                        <a:pt x="131200" y="82313"/>
                      </a:lnTo>
                      <a:cubicBezTo>
                        <a:pt x="131231" y="82028"/>
                        <a:pt x="131297" y="81273"/>
                        <a:pt x="130006" y="80366"/>
                      </a:cubicBezTo>
                      <a:cubicBezTo>
                        <a:pt x="127990" y="78970"/>
                        <a:pt x="124792" y="78678"/>
                        <a:pt x="122690" y="79660"/>
                      </a:cubicBezTo>
                      <a:cubicBezTo>
                        <a:pt x="118877" y="81479"/>
                        <a:pt x="115958" y="85331"/>
                        <a:pt x="112875" y="89410"/>
                      </a:cubicBezTo>
                      <a:cubicBezTo>
                        <a:pt x="111769" y="90867"/>
                        <a:pt x="110662" y="92318"/>
                        <a:pt x="109515" y="93703"/>
                      </a:cubicBezTo>
                      <a:cubicBezTo>
                        <a:pt x="100807" y="104165"/>
                        <a:pt x="88646" y="111245"/>
                        <a:pt x="75396" y="113851"/>
                      </a:cubicBezTo>
                      <a:cubicBezTo>
                        <a:pt x="75263" y="114486"/>
                        <a:pt x="75141" y="115122"/>
                        <a:pt x="75136" y="115739"/>
                      </a:cubicBezTo>
                      <a:cubicBezTo>
                        <a:pt x="75072" y="122436"/>
                        <a:pt x="79310" y="129059"/>
                        <a:pt x="83402" y="135474"/>
                      </a:cubicBezTo>
                      <a:cubicBezTo>
                        <a:pt x="105799" y="170488"/>
                        <a:pt x="110510" y="198785"/>
                        <a:pt x="97396" y="219590"/>
                      </a:cubicBezTo>
                      <a:cubicBezTo>
                        <a:pt x="91232" y="229376"/>
                        <a:pt x="81931" y="235879"/>
                        <a:pt x="72936" y="242162"/>
                      </a:cubicBezTo>
                      <a:cubicBezTo>
                        <a:pt x="64994" y="247713"/>
                        <a:pt x="57494" y="252950"/>
                        <a:pt x="52356" y="260131"/>
                      </a:cubicBezTo>
                      <a:cubicBezTo>
                        <a:pt x="48764" y="265164"/>
                        <a:pt x="46306" y="271325"/>
                        <a:pt x="43932" y="277280"/>
                      </a:cubicBezTo>
                      <a:lnTo>
                        <a:pt x="34905" y="299895"/>
                      </a:lnTo>
                      <a:cubicBezTo>
                        <a:pt x="23373" y="328766"/>
                        <a:pt x="11454" y="358623"/>
                        <a:pt x="1534" y="388888"/>
                      </a:cubicBezTo>
                      <a:cubicBezTo>
                        <a:pt x="443" y="392247"/>
                        <a:pt x="-414" y="395222"/>
                        <a:pt x="212" y="397512"/>
                      </a:cubicBezTo>
                      <a:cubicBezTo>
                        <a:pt x="1053" y="400547"/>
                        <a:pt x="4680" y="403023"/>
                        <a:pt x="11315" y="405102"/>
                      </a:cubicBezTo>
                      <a:cubicBezTo>
                        <a:pt x="35335" y="412620"/>
                        <a:pt x="60807" y="413596"/>
                        <a:pt x="80314" y="413615"/>
                      </a:cubicBezTo>
                      <a:cubicBezTo>
                        <a:pt x="123434" y="413665"/>
                        <a:pt x="166051" y="408536"/>
                        <a:pt x="207690" y="398450"/>
                      </a:cubicBezTo>
                      <a:cubicBezTo>
                        <a:pt x="214731" y="396742"/>
                        <a:pt x="222251" y="394288"/>
                        <a:pt x="224724" y="388920"/>
                      </a:cubicBezTo>
                      <a:cubicBezTo>
                        <a:pt x="225313" y="387634"/>
                        <a:pt x="225685" y="386007"/>
                        <a:pt x="226086" y="384286"/>
                      </a:cubicBezTo>
                      <a:cubicBezTo>
                        <a:pt x="226706" y="381562"/>
                        <a:pt x="227418" y="378475"/>
                        <a:pt x="229236" y="375596"/>
                      </a:cubicBezTo>
                      <a:cubicBezTo>
                        <a:pt x="234704" y="366979"/>
                        <a:pt x="245179" y="366356"/>
                        <a:pt x="253594" y="365857"/>
                      </a:cubicBezTo>
                      <a:lnTo>
                        <a:pt x="255992" y="365705"/>
                      </a:lnTo>
                      <a:cubicBezTo>
                        <a:pt x="268449" y="364836"/>
                        <a:pt x="280226" y="360392"/>
                        <a:pt x="292698" y="355675"/>
                      </a:cubicBezTo>
                      <a:cubicBezTo>
                        <a:pt x="303619" y="351550"/>
                        <a:pt x="314923" y="347276"/>
                        <a:pt x="326877" y="345551"/>
                      </a:cubicBezTo>
                      <a:cubicBezTo>
                        <a:pt x="343986" y="343024"/>
                        <a:pt x="363854" y="349887"/>
                        <a:pt x="374899" y="362134"/>
                      </a:cubicBezTo>
                      <a:cubicBezTo>
                        <a:pt x="380635" y="368504"/>
                        <a:pt x="383556" y="375929"/>
                        <a:pt x="383449" y="383552"/>
                      </a:cubicBezTo>
                      <a:cubicBezTo>
                        <a:pt x="392010" y="383312"/>
                        <a:pt x="401272" y="383646"/>
                        <a:pt x="409964" y="387140"/>
                      </a:cubicBezTo>
                      <a:cubicBezTo>
                        <a:pt x="420556" y="391383"/>
                        <a:pt x="431373" y="402234"/>
                        <a:pt x="430080" y="416032"/>
                      </a:cubicBezTo>
                      <a:cubicBezTo>
                        <a:pt x="429793" y="419178"/>
                        <a:pt x="428905" y="422039"/>
                        <a:pt x="428047" y="424817"/>
                      </a:cubicBezTo>
                      <a:cubicBezTo>
                        <a:pt x="426935" y="428385"/>
                        <a:pt x="425975" y="431472"/>
                        <a:pt x="426658" y="434054"/>
                      </a:cubicBezTo>
                      <a:cubicBezTo>
                        <a:pt x="427361" y="436698"/>
                        <a:pt x="429914" y="439118"/>
                        <a:pt x="432621" y="441685"/>
                      </a:cubicBezTo>
                      <a:cubicBezTo>
                        <a:pt x="459955" y="467668"/>
                        <a:pt x="481690" y="499817"/>
                        <a:pt x="495562" y="534766"/>
                      </a:cubicBezTo>
                      <a:lnTo>
                        <a:pt x="492409" y="536017"/>
                      </a:lnTo>
                      <a:cubicBezTo>
                        <a:pt x="492494" y="536062"/>
                        <a:pt x="492595" y="536085"/>
                        <a:pt x="492679" y="536131"/>
                      </a:cubicBezTo>
                      <a:cubicBezTo>
                        <a:pt x="499430" y="539959"/>
                        <a:pt x="505389" y="546656"/>
                        <a:pt x="513144" y="546334"/>
                      </a:cubicBezTo>
                      <a:cubicBezTo>
                        <a:pt x="530243" y="545625"/>
                        <a:pt x="526649" y="518990"/>
                        <a:pt x="517462" y="504550"/>
                      </a:cubicBezTo>
                      <a:cubicBezTo>
                        <a:pt x="538738" y="496289"/>
                        <a:pt x="560018" y="488030"/>
                        <a:pt x="581296" y="479770"/>
                      </a:cubicBezTo>
                      <a:cubicBezTo>
                        <a:pt x="582237" y="465734"/>
                        <a:pt x="588615" y="452134"/>
                        <a:pt x="598803" y="442435"/>
                      </a:cubicBezTo>
                      <a:cubicBezTo>
                        <a:pt x="615479" y="464701"/>
                        <a:pt x="615286" y="498086"/>
                        <a:pt x="598353" y="520158"/>
                      </a:cubicBezTo>
                      <a:cubicBezTo>
                        <a:pt x="600780" y="533441"/>
                        <a:pt x="621304" y="530083"/>
                        <a:pt x="631611" y="521362"/>
                      </a:cubicBezTo>
                      <a:cubicBezTo>
                        <a:pt x="641920" y="512642"/>
                        <a:pt x="655867" y="501257"/>
                        <a:pt x="666871" y="509082"/>
                      </a:cubicBezTo>
                      <a:cubicBezTo>
                        <a:pt x="671366" y="512280"/>
                        <a:pt x="673437" y="517852"/>
                        <a:pt x="677042" y="522031"/>
                      </a:cubicBezTo>
                      <a:cubicBezTo>
                        <a:pt x="684045" y="530155"/>
                        <a:pt x="697374" y="531837"/>
                        <a:pt x="706177" y="525709"/>
                      </a:cubicBezTo>
                      <a:cubicBezTo>
                        <a:pt x="714980" y="519580"/>
                        <a:pt x="718029" y="506495"/>
                        <a:pt x="712841" y="497106"/>
                      </a:cubicBezTo>
                      <a:cubicBezTo>
                        <a:pt x="727412" y="484582"/>
                        <a:pt x="752855" y="488452"/>
                        <a:pt x="763046" y="504738"/>
                      </a:cubicBezTo>
                      <a:cubicBezTo>
                        <a:pt x="781563" y="495189"/>
                        <a:pt x="793345" y="473943"/>
                        <a:pt x="791638" y="453181"/>
                      </a:cubicBezTo>
                      <a:cubicBezTo>
                        <a:pt x="804418" y="451786"/>
                        <a:pt x="816916" y="463835"/>
                        <a:pt x="815989" y="476658"/>
                      </a:cubicBezTo>
                      <a:cubicBezTo>
                        <a:pt x="841877" y="480904"/>
                        <a:pt x="849022" y="432353"/>
                        <a:pt x="875229" y="431196"/>
                      </a:cubicBezTo>
                      <a:cubicBezTo>
                        <a:pt x="881084" y="430938"/>
                        <a:pt x="886854" y="433325"/>
                        <a:pt x="892690" y="432796"/>
                      </a:cubicBezTo>
                      <a:cubicBezTo>
                        <a:pt x="907004" y="431502"/>
                        <a:pt x="913607" y="415063"/>
                        <a:pt x="921570" y="403097"/>
                      </a:cubicBezTo>
                      <a:cubicBezTo>
                        <a:pt x="930340" y="389919"/>
                        <a:pt x="942966" y="381154"/>
                        <a:pt x="957320" y="374925"/>
                      </a:cubicBezTo>
                      <a:cubicBezTo>
                        <a:pt x="949940" y="361239"/>
                        <a:pt x="947407" y="344997"/>
                        <a:pt x="950675" y="329807"/>
                      </a:cubicBezTo>
                      <a:lnTo>
                        <a:pt x="951326" y="326815"/>
                      </a:lnTo>
                      <a:lnTo>
                        <a:pt x="954246" y="325884"/>
                      </a:lnTo>
                      <a:cubicBezTo>
                        <a:pt x="979393" y="317877"/>
                        <a:pt x="1002194" y="303421"/>
                        <a:pt x="1020170" y="284100"/>
                      </a:cubicBezTo>
                      <a:lnTo>
                        <a:pt x="1024530" y="279413"/>
                      </a:lnTo>
                      <a:lnTo>
                        <a:pt x="1028314" y="284586"/>
                      </a:lnTo>
                      <a:cubicBezTo>
                        <a:pt x="1028856" y="285318"/>
                        <a:pt x="1029399" y="285717"/>
                        <a:pt x="1030637" y="285491"/>
                      </a:cubicBezTo>
                      <a:cubicBezTo>
                        <a:pt x="1034065" y="284947"/>
                        <a:pt x="1039337" y="280326"/>
                        <a:pt x="1041006" y="275194"/>
                      </a:cubicBezTo>
                      <a:cubicBezTo>
                        <a:pt x="1044775" y="263560"/>
                        <a:pt x="1044118" y="250472"/>
                        <a:pt x="1039214" y="23927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1" name="Forma libre 140">
                  <a:extLst>
                    <a:ext uri="{FF2B5EF4-FFF2-40B4-BE49-F238E27FC236}">
                      <a16:creationId xmlns:a16="http://schemas.microsoft.com/office/drawing/2014/main" id="{3DDE7AC0-3EFB-8F49-AFDC-5B7921F821C7}"/>
                    </a:ext>
                  </a:extLst>
                </p:cNvPr>
                <p:cNvSpPr/>
                <p:nvPr/>
              </p:nvSpPr>
              <p:spPr>
                <a:xfrm>
                  <a:off x="4631049" y="2046597"/>
                  <a:ext cx="441193" cy="703396"/>
                </a:xfrm>
                <a:custGeom>
                  <a:avLst/>
                  <a:gdLst>
                    <a:gd name="connsiteX0" fmla="*/ 228739 w 441193"/>
                    <a:gd name="connsiteY0" fmla="*/ 47526 h 703396"/>
                    <a:gd name="connsiteX1" fmla="*/ 246298 w 441193"/>
                    <a:gd name="connsiteY1" fmla="*/ 66432 h 703396"/>
                    <a:gd name="connsiteX2" fmla="*/ 267604 w 441193"/>
                    <a:gd name="connsiteY2" fmla="*/ 51880 h 703396"/>
                    <a:gd name="connsiteX3" fmla="*/ 251517 w 441193"/>
                    <a:gd name="connsiteY3" fmla="*/ 36271 h 703396"/>
                    <a:gd name="connsiteX4" fmla="*/ 288075 w 441193"/>
                    <a:gd name="connsiteY4" fmla="*/ 37763 h 703396"/>
                    <a:gd name="connsiteX5" fmla="*/ 279338 w 441193"/>
                    <a:gd name="connsiteY5" fmla="*/ 0 h 703396"/>
                    <a:gd name="connsiteX6" fmla="*/ 332997 w 441193"/>
                    <a:gd name="connsiteY6" fmla="*/ 25737 h 703396"/>
                    <a:gd name="connsiteX7" fmla="*/ 365876 w 441193"/>
                    <a:gd name="connsiteY7" fmla="*/ 46021 h 703396"/>
                    <a:gd name="connsiteX8" fmla="*/ 290370 w 441193"/>
                    <a:gd name="connsiteY8" fmla="*/ 80845 h 703396"/>
                    <a:gd name="connsiteX9" fmla="*/ 281385 w 441193"/>
                    <a:gd name="connsiteY9" fmla="*/ 98486 h 703396"/>
                    <a:gd name="connsiteX10" fmla="*/ 315708 w 441193"/>
                    <a:gd name="connsiteY10" fmla="*/ 107417 h 703396"/>
                    <a:gd name="connsiteX11" fmla="*/ 372638 w 441193"/>
                    <a:gd name="connsiteY11" fmla="*/ 115437 h 703396"/>
                    <a:gd name="connsiteX12" fmla="*/ 387900 w 441193"/>
                    <a:gd name="connsiteY12" fmla="*/ 134291 h 703396"/>
                    <a:gd name="connsiteX13" fmla="*/ 384498 w 441193"/>
                    <a:gd name="connsiteY13" fmla="*/ 144361 h 703396"/>
                    <a:gd name="connsiteX14" fmla="*/ 354168 w 441193"/>
                    <a:gd name="connsiteY14" fmla="*/ 189179 h 703396"/>
                    <a:gd name="connsiteX15" fmla="*/ 303781 w 441193"/>
                    <a:gd name="connsiteY15" fmla="*/ 199596 h 703396"/>
                    <a:gd name="connsiteX16" fmla="*/ 298671 w 441193"/>
                    <a:gd name="connsiteY16" fmla="*/ 224448 h 703396"/>
                    <a:gd name="connsiteX17" fmla="*/ 278194 w 441193"/>
                    <a:gd name="connsiteY17" fmla="*/ 212766 h 703396"/>
                    <a:gd name="connsiteX18" fmla="*/ 261778 w 441193"/>
                    <a:gd name="connsiteY18" fmla="*/ 225661 h 703396"/>
                    <a:gd name="connsiteX19" fmla="*/ 295733 w 441193"/>
                    <a:gd name="connsiteY19" fmla="*/ 238014 h 703396"/>
                    <a:gd name="connsiteX20" fmla="*/ 324350 w 441193"/>
                    <a:gd name="connsiteY20" fmla="*/ 275893 h 703396"/>
                    <a:gd name="connsiteX21" fmla="*/ 317464 w 441193"/>
                    <a:gd name="connsiteY21" fmla="*/ 289691 h 703396"/>
                    <a:gd name="connsiteX22" fmla="*/ 351433 w 441193"/>
                    <a:gd name="connsiteY22" fmla="*/ 319016 h 703396"/>
                    <a:gd name="connsiteX23" fmla="*/ 370119 w 441193"/>
                    <a:gd name="connsiteY23" fmla="*/ 383178 h 703396"/>
                    <a:gd name="connsiteX24" fmla="*/ 374326 w 441193"/>
                    <a:gd name="connsiteY24" fmla="*/ 399264 h 703396"/>
                    <a:gd name="connsiteX25" fmla="*/ 367716 w 441193"/>
                    <a:gd name="connsiteY25" fmla="*/ 460272 h 703396"/>
                    <a:gd name="connsiteX26" fmla="*/ 347852 w 441193"/>
                    <a:gd name="connsiteY26" fmla="*/ 463281 h 703396"/>
                    <a:gd name="connsiteX27" fmla="*/ 377391 w 441193"/>
                    <a:gd name="connsiteY27" fmla="*/ 505467 h 703396"/>
                    <a:gd name="connsiteX28" fmla="*/ 373967 w 441193"/>
                    <a:gd name="connsiteY28" fmla="*/ 558876 h 703396"/>
                    <a:gd name="connsiteX29" fmla="*/ 420611 w 441193"/>
                    <a:gd name="connsiteY29" fmla="*/ 566227 h 703396"/>
                    <a:gd name="connsiteX30" fmla="*/ 439698 w 441193"/>
                    <a:gd name="connsiteY30" fmla="*/ 605464 h 703396"/>
                    <a:gd name="connsiteX31" fmla="*/ 359547 w 441193"/>
                    <a:gd name="connsiteY31" fmla="*/ 654645 h 703396"/>
                    <a:gd name="connsiteX32" fmla="*/ 389836 w 441193"/>
                    <a:gd name="connsiteY32" fmla="*/ 687125 h 703396"/>
                    <a:gd name="connsiteX33" fmla="*/ 313442 w 441193"/>
                    <a:gd name="connsiteY33" fmla="*/ 702999 h 703396"/>
                    <a:gd name="connsiteX34" fmla="*/ 256473 w 441193"/>
                    <a:gd name="connsiteY34" fmla="*/ 696085 h 703396"/>
                    <a:gd name="connsiteX35" fmla="*/ 187274 w 441193"/>
                    <a:gd name="connsiteY35" fmla="*/ 685467 h 703396"/>
                    <a:gd name="connsiteX36" fmla="*/ 167607 w 441193"/>
                    <a:gd name="connsiteY36" fmla="*/ 679339 h 703396"/>
                    <a:gd name="connsiteX37" fmla="*/ 141281 w 441193"/>
                    <a:gd name="connsiteY37" fmla="*/ 653449 h 703396"/>
                    <a:gd name="connsiteX38" fmla="*/ 77499 w 441193"/>
                    <a:gd name="connsiteY38" fmla="*/ 687757 h 703396"/>
                    <a:gd name="connsiteX39" fmla="*/ 39687 w 441193"/>
                    <a:gd name="connsiteY39" fmla="*/ 675163 h 703396"/>
                    <a:gd name="connsiteX40" fmla="*/ 0 w 441193"/>
                    <a:gd name="connsiteY40" fmla="*/ 665430 h 703396"/>
                    <a:gd name="connsiteX41" fmla="*/ 62950 w 441193"/>
                    <a:gd name="connsiteY41" fmla="*/ 642052 h 703396"/>
                    <a:gd name="connsiteX42" fmla="*/ 130114 w 441193"/>
                    <a:gd name="connsiteY42" fmla="*/ 627703 h 703396"/>
                    <a:gd name="connsiteX43" fmla="*/ 170988 w 441193"/>
                    <a:gd name="connsiteY43" fmla="*/ 628315 h 703396"/>
                    <a:gd name="connsiteX44" fmla="*/ 176279 w 441193"/>
                    <a:gd name="connsiteY44" fmla="*/ 596821 h 703396"/>
                    <a:gd name="connsiteX45" fmla="*/ 184279 w 441193"/>
                    <a:gd name="connsiteY45" fmla="*/ 579554 h 703396"/>
                    <a:gd name="connsiteX46" fmla="*/ 172792 w 441193"/>
                    <a:gd name="connsiteY46" fmla="*/ 596549 h 703396"/>
                    <a:gd name="connsiteX47" fmla="*/ 131560 w 441193"/>
                    <a:gd name="connsiteY47" fmla="*/ 584822 h 703396"/>
                    <a:gd name="connsiteX48" fmla="*/ 54147 w 441193"/>
                    <a:gd name="connsiteY48" fmla="*/ 540869 h 703396"/>
                    <a:gd name="connsiteX49" fmla="*/ 113843 w 441193"/>
                    <a:gd name="connsiteY49" fmla="*/ 543272 h 703396"/>
                    <a:gd name="connsiteX50" fmla="*/ 158044 w 441193"/>
                    <a:gd name="connsiteY50" fmla="*/ 507065 h 703396"/>
                    <a:gd name="connsiteX51" fmla="*/ 127631 w 441193"/>
                    <a:gd name="connsiteY51" fmla="*/ 466980 h 703396"/>
                    <a:gd name="connsiteX52" fmla="*/ 204005 w 441193"/>
                    <a:gd name="connsiteY52" fmla="*/ 456861 h 703396"/>
                    <a:gd name="connsiteX53" fmla="*/ 216932 w 441193"/>
                    <a:gd name="connsiteY53" fmla="*/ 472165 h 703396"/>
                    <a:gd name="connsiteX54" fmla="*/ 226301 w 441193"/>
                    <a:gd name="connsiteY54" fmla="*/ 439659 h 703396"/>
                    <a:gd name="connsiteX55" fmla="*/ 255848 w 441193"/>
                    <a:gd name="connsiteY55" fmla="*/ 398995 h 703396"/>
                    <a:gd name="connsiteX56" fmla="*/ 222798 w 441193"/>
                    <a:gd name="connsiteY56" fmla="*/ 359697 h 703396"/>
                    <a:gd name="connsiteX57" fmla="*/ 251395 w 441193"/>
                    <a:gd name="connsiteY57" fmla="*/ 327756 h 703396"/>
                    <a:gd name="connsiteX58" fmla="*/ 238704 w 441193"/>
                    <a:gd name="connsiteY58" fmla="*/ 307931 h 703396"/>
                    <a:gd name="connsiteX59" fmla="*/ 213323 w 441193"/>
                    <a:gd name="connsiteY59" fmla="*/ 306585 h 703396"/>
                    <a:gd name="connsiteX60" fmla="*/ 162736 w 441193"/>
                    <a:gd name="connsiteY60" fmla="*/ 311930 h 703396"/>
                    <a:gd name="connsiteX61" fmla="*/ 152930 w 441193"/>
                    <a:gd name="connsiteY61" fmla="*/ 311243 h 703396"/>
                    <a:gd name="connsiteX62" fmla="*/ 150114 w 441193"/>
                    <a:gd name="connsiteY62" fmla="*/ 291051 h 703396"/>
                    <a:gd name="connsiteX63" fmla="*/ 168685 w 441193"/>
                    <a:gd name="connsiteY63" fmla="*/ 277164 h 703396"/>
                    <a:gd name="connsiteX64" fmla="*/ 210084 w 441193"/>
                    <a:gd name="connsiteY64" fmla="*/ 207440 h 703396"/>
                    <a:gd name="connsiteX65" fmla="*/ 218518 w 441193"/>
                    <a:gd name="connsiteY65" fmla="*/ 124585 h 703396"/>
                    <a:gd name="connsiteX66" fmla="*/ 191305 w 441193"/>
                    <a:gd name="connsiteY66" fmla="*/ 109889 h 703396"/>
                    <a:gd name="connsiteX67" fmla="*/ 218112 w 441193"/>
                    <a:gd name="connsiteY67" fmla="*/ 85733 h 703396"/>
                    <a:gd name="connsiteX68" fmla="*/ 228739 w 441193"/>
                    <a:gd name="connsiteY68" fmla="*/ 47526 h 703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</a:cxnLst>
                  <a:rect l="l" t="t" r="r" b="b"/>
                  <a:pathLst>
                    <a:path w="441193" h="703396">
                      <a:moveTo>
                        <a:pt x="228739" y="47526"/>
                      </a:moveTo>
                      <a:cubicBezTo>
                        <a:pt x="229093" y="56888"/>
                        <a:pt x="236987" y="65388"/>
                        <a:pt x="246298" y="66432"/>
                      </a:cubicBezTo>
                      <a:cubicBezTo>
                        <a:pt x="255607" y="67474"/>
                        <a:pt x="265187" y="60932"/>
                        <a:pt x="267604" y="51880"/>
                      </a:cubicBezTo>
                      <a:cubicBezTo>
                        <a:pt x="260772" y="48553"/>
                        <a:pt x="255048" y="42999"/>
                        <a:pt x="251517" y="36271"/>
                      </a:cubicBezTo>
                      <a:cubicBezTo>
                        <a:pt x="263705" y="36769"/>
                        <a:pt x="275889" y="37267"/>
                        <a:pt x="288075" y="37763"/>
                      </a:cubicBezTo>
                      <a:cubicBezTo>
                        <a:pt x="285162" y="25177"/>
                        <a:pt x="282251" y="12588"/>
                        <a:pt x="279338" y="0"/>
                      </a:cubicBezTo>
                      <a:cubicBezTo>
                        <a:pt x="293354" y="14646"/>
                        <a:pt x="312802" y="23973"/>
                        <a:pt x="332997" y="25737"/>
                      </a:cubicBezTo>
                      <a:cubicBezTo>
                        <a:pt x="347743" y="27025"/>
                        <a:pt x="369361" y="31631"/>
                        <a:pt x="365876" y="46021"/>
                      </a:cubicBezTo>
                      <a:cubicBezTo>
                        <a:pt x="337928" y="49483"/>
                        <a:pt x="311149" y="61834"/>
                        <a:pt x="290370" y="80845"/>
                      </a:cubicBezTo>
                      <a:cubicBezTo>
                        <a:pt x="285278" y="85502"/>
                        <a:pt x="280162" y="91694"/>
                        <a:pt x="281385" y="98486"/>
                      </a:cubicBezTo>
                      <a:cubicBezTo>
                        <a:pt x="283740" y="111553"/>
                        <a:pt x="302652" y="109820"/>
                        <a:pt x="315708" y="107417"/>
                      </a:cubicBezTo>
                      <a:cubicBezTo>
                        <a:pt x="334886" y="103886"/>
                        <a:pt x="355183" y="106746"/>
                        <a:pt x="372638" y="115437"/>
                      </a:cubicBezTo>
                      <a:cubicBezTo>
                        <a:pt x="380307" y="119257"/>
                        <a:pt x="388281" y="125731"/>
                        <a:pt x="387900" y="134291"/>
                      </a:cubicBezTo>
                      <a:cubicBezTo>
                        <a:pt x="387739" y="137859"/>
                        <a:pt x="386102" y="141171"/>
                        <a:pt x="384498" y="144361"/>
                      </a:cubicBezTo>
                      <a:cubicBezTo>
                        <a:pt x="376336" y="160581"/>
                        <a:pt x="367844" y="177233"/>
                        <a:pt x="354168" y="189179"/>
                      </a:cubicBezTo>
                      <a:cubicBezTo>
                        <a:pt x="340491" y="201124"/>
                        <a:pt x="320194" y="207366"/>
                        <a:pt x="303781" y="199596"/>
                      </a:cubicBezTo>
                      <a:cubicBezTo>
                        <a:pt x="302078" y="207880"/>
                        <a:pt x="300375" y="216164"/>
                        <a:pt x="298671" y="224448"/>
                      </a:cubicBezTo>
                      <a:cubicBezTo>
                        <a:pt x="292648" y="219207"/>
                        <a:pt x="286119" y="213732"/>
                        <a:pt x="278194" y="212766"/>
                      </a:cubicBezTo>
                      <a:cubicBezTo>
                        <a:pt x="270271" y="211798"/>
                        <a:pt x="261046" y="217712"/>
                        <a:pt x="261778" y="225661"/>
                      </a:cubicBezTo>
                      <a:cubicBezTo>
                        <a:pt x="262994" y="238876"/>
                        <a:pt x="282545" y="236547"/>
                        <a:pt x="295733" y="238014"/>
                      </a:cubicBezTo>
                      <a:cubicBezTo>
                        <a:pt x="313338" y="239972"/>
                        <a:pt x="327278" y="258425"/>
                        <a:pt x="324350" y="275893"/>
                      </a:cubicBezTo>
                      <a:cubicBezTo>
                        <a:pt x="326606" y="281272"/>
                        <a:pt x="323121" y="288259"/>
                        <a:pt x="317464" y="289691"/>
                      </a:cubicBezTo>
                      <a:cubicBezTo>
                        <a:pt x="333348" y="284858"/>
                        <a:pt x="345918" y="303356"/>
                        <a:pt x="351433" y="319016"/>
                      </a:cubicBezTo>
                      <a:cubicBezTo>
                        <a:pt x="358835" y="340033"/>
                        <a:pt x="364483" y="361619"/>
                        <a:pt x="370119" y="383178"/>
                      </a:cubicBezTo>
                      <a:cubicBezTo>
                        <a:pt x="371522" y="388539"/>
                        <a:pt x="372923" y="393901"/>
                        <a:pt x="374326" y="399264"/>
                      </a:cubicBezTo>
                      <a:cubicBezTo>
                        <a:pt x="379791" y="420161"/>
                        <a:pt x="383903" y="445969"/>
                        <a:pt x="367716" y="460272"/>
                      </a:cubicBezTo>
                      <a:cubicBezTo>
                        <a:pt x="361095" y="461275"/>
                        <a:pt x="354475" y="462279"/>
                        <a:pt x="347852" y="463281"/>
                      </a:cubicBezTo>
                      <a:cubicBezTo>
                        <a:pt x="364395" y="470192"/>
                        <a:pt x="374513" y="487770"/>
                        <a:pt x="377391" y="505467"/>
                      </a:cubicBezTo>
                      <a:cubicBezTo>
                        <a:pt x="380271" y="523163"/>
                        <a:pt x="377116" y="541223"/>
                        <a:pt x="373967" y="558876"/>
                      </a:cubicBezTo>
                      <a:cubicBezTo>
                        <a:pt x="389871" y="558810"/>
                        <a:pt x="406491" y="558911"/>
                        <a:pt x="420611" y="566227"/>
                      </a:cubicBezTo>
                      <a:cubicBezTo>
                        <a:pt x="434733" y="573543"/>
                        <a:pt x="445209" y="590545"/>
                        <a:pt x="439698" y="605464"/>
                      </a:cubicBezTo>
                      <a:cubicBezTo>
                        <a:pt x="428348" y="636190"/>
                        <a:pt x="371051" y="623976"/>
                        <a:pt x="359547" y="654645"/>
                      </a:cubicBezTo>
                      <a:cubicBezTo>
                        <a:pt x="353108" y="671817"/>
                        <a:pt x="372256" y="692353"/>
                        <a:pt x="389836" y="687125"/>
                      </a:cubicBezTo>
                      <a:cubicBezTo>
                        <a:pt x="367984" y="702113"/>
                        <a:pt x="339895" y="704533"/>
                        <a:pt x="313442" y="702999"/>
                      </a:cubicBezTo>
                      <a:cubicBezTo>
                        <a:pt x="294338" y="701893"/>
                        <a:pt x="275388" y="698985"/>
                        <a:pt x="256473" y="696085"/>
                      </a:cubicBezTo>
                      <a:cubicBezTo>
                        <a:pt x="233408" y="692546"/>
                        <a:pt x="210341" y="689006"/>
                        <a:pt x="187274" y="685467"/>
                      </a:cubicBezTo>
                      <a:cubicBezTo>
                        <a:pt x="180426" y="684417"/>
                        <a:pt x="173316" y="683266"/>
                        <a:pt x="167607" y="679339"/>
                      </a:cubicBezTo>
                      <a:cubicBezTo>
                        <a:pt x="157327" y="672270"/>
                        <a:pt x="153149" y="657300"/>
                        <a:pt x="141281" y="653449"/>
                      </a:cubicBezTo>
                      <a:cubicBezTo>
                        <a:pt x="117062" y="645588"/>
                        <a:pt x="102687" y="691494"/>
                        <a:pt x="77499" y="687757"/>
                      </a:cubicBezTo>
                      <a:cubicBezTo>
                        <a:pt x="76722" y="672415"/>
                        <a:pt x="54476" y="671013"/>
                        <a:pt x="39687" y="675163"/>
                      </a:cubicBezTo>
                      <a:cubicBezTo>
                        <a:pt x="24898" y="679314"/>
                        <a:pt x="3333" y="680424"/>
                        <a:pt x="0" y="665430"/>
                      </a:cubicBezTo>
                      <a:cubicBezTo>
                        <a:pt x="20984" y="657636"/>
                        <a:pt x="41965" y="649845"/>
                        <a:pt x="62950" y="642052"/>
                      </a:cubicBezTo>
                      <a:cubicBezTo>
                        <a:pt x="84594" y="634014"/>
                        <a:pt x="107100" y="625849"/>
                        <a:pt x="130114" y="627703"/>
                      </a:cubicBezTo>
                      <a:cubicBezTo>
                        <a:pt x="143851" y="628809"/>
                        <a:pt x="158177" y="633401"/>
                        <a:pt x="170988" y="628315"/>
                      </a:cubicBezTo>
                      <a:cubicBezTo>
                        <a:pt x="183799" y="623227"/>
                        <a:pt x="189238" y="601514"/>
                        <a:pt x="176279" y="596821"/>
                      </a:cubicBezTo>
                      <a:cubicBezTo>
                        <a:pt x="178944" y="591066"/>
                        <a:pt x="181610" y="585310"/>
                        <a:pt x="184279" y="579554"/>
                      </a:cubicBezTo>
                      <a:cubicBezTo>
                        <a:pt x="176130" y="579288"/>
                        <a:pt x="169506" y="589087"/>
                        <a:pt x="172792" y="596549"/>
                      </a:cubicBezTo>
                      <a:cubicBezTo>
                        <a:pt x="161766" y="608019"/>
                        <a:pt x="143541" y="595289"/>
                        <a:pt x="131560" y="584822"/>
                      </a:cubicBezTo>
                      <a:cubicBezTo>
                        <a:pt x="109124" y="565218"/>
                        <a:pt x="81404" y="552900"/>
                        <a:pt x="54147" y="540869"/>
                      </a:cubicBezTo>
                      <a:cubicBezTo>
                        <a:pt x="73919" y="544087"/>
                        <a:pt x="94220" y="547300"/>
                        <a:pt x="113843" y="543272"/>
                      </a:cubicBezTo>
                      <a:cubicBezTo>
                        <a:pt x="133466" y="539245"/>
                        <a:pt x="152567" y="526335"/>
                        <a:pt x="158044" y="507065"/>
                      </a:cubicBezTo>
                      <a:cubicBezTo>
                        <a:pt x="163565" y="487637"/>
                        <a:pt x="147341" y="462567"/>
                        <a:pt x="127631" y="466980"/>
                      </a:cubicBezTo>
                      <a:cubicBezTo>
                        <a:pt x="153090" y="463607"/>
                        <a:pt x="178549" y="460234"/>
                        <a:pt x="204005" y="456861"/>
                      </a:cubicBezTo>
                      <a:cubicBezTo>
                        <a:pt x="208315" y="461964"/>
                        <a:pt x="212624" y="467064"/>
                        <a:pt x="216932" y="472165"/>
                      </a:cubicBezTo>
                      <a:cubicBezTo>
                        <a:pt x="229438" y="470662"/>
                        <a:pt x="226869" y="452241"/>
                        <a:pt x="226301" y="439659"/>
                      </a:cubicBezTo>
                      <a:cubicBezTo>
                        <a:pt x="225483" y="421586"/>
                        <a:pt x="238406" y="403801"/>
                        <a:pt x="255848" y="398995"/>
                      </a:cubicBezTo>
                      <a:cubicBezTo>
                        <a:pt x="241725" y="388636"/>
                        <a:pt x="226594" y="376796"/>
                        <a:pt x="222798" y="359697"/>
                      </a:cubicBezTo>
                      <a:cubicBezTo>
                        <a:pt x="218999" y="342598"/>
                        <a:pt x="235060" y="321437"/>
                        <a:pt x="251395" y="327756"/>
                      </a:cubicBezTo>
                      <a:cubicBezTo>
                        <a:pt x="253312" y="319415"/>
                        <a:pt x="246685" y="311028"/>
                        <a:pt x="238704" y="307931"/>
                      </a:cubicBezTo>
                      <a:cubicBezTo>
                        <a:pt x="230727" y="304835"/>
                        <a:pt x="221835" y="305687"/>
                        <a:pt x="213323" y="306585"/>
                      </a:cubicBezTo>
                      <a:cubicBezTo>
                        <a:pt x="196460" y="308368"/>
                        <a:pt x="179599" y="310148"/>
                        <a:pt x="162736" y="311930"/>
                      </a:cubicBezTo>
                      <a:cubicBezTo>
                        <a:pt x="159437" y="312278"/>
                        <a:pt x="155955" y="312601"/>
                        <a:pt x="152930" y="311243"/>
                      </a:cubicBezTo>
                      <a:cubicBezTo>
                        <a:pt x="145826" y="308053"/>
                        <a:pt x="145559" y="297365"/>
                        <a:pt x="150114" y="291051"/>
                      </a:cubicBezTo>
                      <a:cubicBezTo>
                        <a:pt x="154671" y="284737"/>
                        <a:pt x="162142" y="281382"/>
                        <a:pt x="168685" y="277164"/>
                      </a:cubicBezTo>
                      <a:cubicBezTo>
                        <a:pt x="192032" y="262114"/>
                        <a:pt x="204650" y="234679"/>
                        <a:pt x="210084" y="207440"/>
                      </a:cubicBezTo>
                      <a:cubicBezTo>
                        <a:pt x="215518" y="180201"/>
                        <a:pt x="214969" y="152134"/>
                        <a:pt x="218518" y="124585"/>
                      </a:cubicBezTo>
                      <a:cubicBezTo>
                        <a:pt x="207609" y="129047"/>
                        <a:pt x="193551" y="121457"/>
                        <a:pt x="191305" y="109889"/>
                      </a:cubicBezTo>
                      <a:cubicBezTo>
                        <a:pt x="208104" y="110465"/>
                        <a:pt x="213381" y="98276"/>
                        <a:pt x="218112" y="85733"/>
                      </a:cubicBezTo>
                      <a:cubicBezTo>
                        <a:pt x="219032" y="83295"/>
                        <a:pt x="228780" y="48603"/>
                        <a:pt x="228739" y="47526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grpSp>
              <p:nvGrpSpPr>
                <p:cNvPr id="142" name="Gráfico 16">
                  <a:extLst>
                    <a:ext uri="{FF2B5EF4-FFF2-40B4-BE49-F238E27FC236}">
                      <a16:creationId xmlns:a16="http://schemas.microsoft.com/office/drawing/2014/main" id="{E6849DC2-A35C-4345-BFDC-4AB822F486A3}"/>
                    </a:ext>
                  </a:extLst>
                </p:cNvPr>
                <p:cNvGrpSpPr/>
                <p:nvPr/>
              </p:nvGrpSpPr>
              <p:grpSpPr>
                <a:xfrm>
                  <a:off x="5392482" y="1122392"/>
                  <a:ext cx="999048" cy="1387973"/>
                  <a:chOff x="5392482" y="1122392"/>
                  <a:chExt cx="999048" cy="1387973"/>
                </a:xfrm>
                <a:grpFill/>
              </p:grpSpPr>
              <p:sp>
                <p:nvSpPr>
                  <p:cNvPr id="233" name="Forma libre 232">
                    <a:extLst>
                      <a:ext uri="{FF2B5EF4-FFF2-40B4-BE49-F238E27FC236}">
                        <a16:creationId xmlns:a16="http://schemas.microsoft.com/office/drawing/2014/main" id="{59429DDE-6C88-3C40-A953-5320FA1EBA6A}"/>
                      </a:ext>
                    </a:extLst>
                  </p:cNvPr>
                  <p:cNvSpPr/>
                  <p:nvPr/>
                </p:nvSpPr>
                <p:spPr>
                  <a:xfrm>
                    <a:off x="5392482" y="1122392"/>
                    <a:ext cx="999048" cy="1114474"/>
                  </a:xfrm>
                  <a:custGeom>
                    <a:avLst/>
                    <a:gdLst>
                      <a:gd name="connsiteX0" fmla="*/ 991889 w 999048"/>
                      <a:gd name="connsiteY0" fmla="*/ 58064 h 1114474"/>
                      <a:gd name="connsiteX1" fmla="*/ 987733 w 999048"/>
                      <a:gd name="connsiteY1" fmla="*/ 44063 h 1114474"/>
                      <a:gd name="connsiteX2" fmla="*/ 945414 w 999048"/>
                      <a:gd name="connsiteY2" fmla="*/ 30113 h 1114474"/>
                      <a:gd name="connsiteX3" fmla="*/ 913615 w 999048"/>
                      <a:gd name="connsiteY3" fmla="*/ 60878 h 1114474"/>
                      <a:gd name="connsiteX4" fmla="*/ 883671 w 999048"/>
                      <a:gd name="connsiteY4" fmla="*/ 55822 h 1114474"/>
                      <a:gd name="connsiteX5" fmla="*/ 909159 w 999048"/>
                      <a:gd name="connsiteY5" fmla="*/ 0 h 1114474"/>
                      <a:gd name="connsiteX6" fmla="*/ 867399 w 999048"/>
                      <a:gd name="connsiteY6" fmla="*/ 68587 h 1114474"/>
                      <a:gd name="connsiteX7" fmla="*/ 849775 w 999048"/>
                      <a:gd name="connsiteY7" fmla="*/ 37127 h 1114474"/>
                      <a:gd name="connsiteX8" fmla="*/ 826807 w 999048"/>
                      <a:gd name="connsiteY8" fmla="*/ 64562 h 1114474"/>
                      <a:gd name="connsiteX9" fmla="*/ 842068 w 999048"/>
                      <a:gd name="connsiteY9" fmla="*/ 16377 h 1114474"/>
                      <a:gd name="connsiteX10" fmla="*/ 796101 w 999048"/>
                      <a:gd name="connsiteY10" fmla="*/ 39224 h 1114474"/>
                      <a:gd name="connsiteX11" fmla="*/ 760926 w 999048"/>
                      <a:gd name="connsiteY11" fmla="*/ 80834 h 1114474"/>
                      <a:gd name="connsiteX12" fmla="*/ 707188 w 999048"/>
                      <a:gd name="connsiteY12" fmla="*/ 94967 h 1114474"/>
                      <a:gd name="connsiteX13" fmla="*/ 700387 w 999048"/>
                      <a:gd name="connsiteY13" fmla="*/ 137350 h 1114474"/>
                      <a:gd name="connsiteX14" fmla="*/ 631108 w 999048"/>
                      <a:gd name="connsiteY14" fmla="*/ 150713 h 1114474"/>
                      <a:gd name="connsiteX15" fmla="*/ 654447 w 999048"/>
                      <a:gd name="connsiteY15" fmla="*/ 182771 h 1114474"/>
                      <a:gd name="connsiteX16" fmla="*/ 587882 w 999048"/>
                      <a:gd name="connsiteY16" fmla="*/ 198887 h 1114474"/>
                      <a:gd name="connsiteX17" fmla="*/ 573354 w 999048"/>
                      <a:gd name="connsiteY17" fmla="*/ 227702 h 1114474"/>
                      <a:gd name="connsiteX18" fmla="*/ 551374 w 999048"/>
                      <a:gd name="connsiteY18" fmla="*/ 282968 h 1114474"/>
                      <a:gd name="connsiteX19" fmla="*/ 509565 w 999048"/>
                      <a:gd name="connsiteY19" fmla="*/ 338495 h 1114474"/>
                      <a:gd name="connsiteX20" fmla="*/ 484065 w 999048"/>
                      <a:gd name="connsiteY20" fmla="*/ 326596 h 1114474"/>
                      <a:gd name="connsiteX21" fmla="*/ 422722 w 999048"/>
                      <a:gd name="connsiteY21" fmla="*/ 403184 h 1114474"/>
                      <a:gd name="connsiteX22" fmla="*/ 424231 w 999048"/>
                      <a:gd name="connsiteY22" fmla="*/ 429957 h 1114474"/>
                      <a:gd name="connsiteX23" fmla="*/ 398787 w 999048"/>
                      <a:gd name="connsiteY23" fmla="*/ 454235 h 1114474"/>
                      <a:gd name="connsiteX24" fmla="*/ 343532 w 999048"/>
                      <a:gd name="connsiteY24" fmla="*/ 584326 h 1114474"/>
                      <a:gd name="connsiteX25" fmla="*/ 317932 w 999048"/>
                      <a:gd name="connsiteY25" fmla="*/ 570589 h 1114474"/>
                      <a:gd name="connsiteX26" fmla="*/ 285536 w 999048"/>
                      <a:gd name="connsiteY26" fmla="*/ 605217 h 1114474"/>
                      <a:gd name="connsiteX27" fmla="*/ 143223 w 999048"/>
                      <a:gd name="connsiteY27" fmla="*/ 721988 h 1114474"/>
                      <a:gd name="connsiteX28" fmla="*/ 69046 w 999048"/>
                      <a:gd name="connsiteY28" fmla="*/ 740451 h 1114474"/>
                      <a:gd name="connsiteX29" fmla="*/ 28824 w 999048"/>
                      <a:gd name="connsiteY29" fmla="*/ 823829 h 1114474"/>
                      <a:gd name="connsiteX30" fmla="*/ 35597 w 999048"/>
                      <a:gd name="connsiteY30" fmla="*/ 856734 h 1114474"/>
                      <a:gd name="connsiteX31" fmla="*/ 15614 w 999048"/>
                      <a:gd name="connsiteY31" fmla="*/ 908075 h 1114474"/>
                      <a:gd name="connsiteX32" fmla="*/ 39739 w 999048"/>
                      <a:gd name="connsiteY32" fmla="*/ 909669 h 1114474"/>
                      <a:gd name="connsiteX33" fmla="*/ 4099 w 999048"/>
                      <a:gd name="connsiteY33" fmla="*/ 963211 h 1114474"/>
                      <a:gd name="connsiteX34" fmla="*/ 27034 w 999048"/>
                      <a:gd name="connsiteY34" fmla="*/ 984041 h 1114474"/>
                      <a:gd name="connsiteX35" fmla="*/ 1 w 999048"/>
                      <a:gd name="connsiteY35" fmla="*/ 1041163 h 1114474"/>
                      <a:gd name="connsiteX36" fmla="*/ 19394 w 999048"/>
                      <a:gd name="connsiteY36" fmla="*/ 1075033 h 1114474"/>
                      <a:gd name="connsiteX37" fmla="*/ 66182 w 999048"/>
                      <a:gd name="connsiteY37" fmla="*/ 1110043 h 1114474"/>
                      <a:gd name="connsiteX38" fmla="*/ 121312 w 999048"/>
                      <a:gd name="connsiteY38" fmla="*/ 1102536 h 1114474"/>
                      <a:gd name="connsiteX39" fmla="*/ 151576 w 999048"/>
                      <a:gd name="connsiteY39" fmla="*/ 1062601 h 1114474"/>
                      <a:gd name="connsiteX40" fmla="*/ 182554 w 999048"/>
                      <a:gd name="connsiteY40" fmla="*/ 1053232 h 1114474"/>
                      <a:gd name="connsiteX41" fmla="*/ 232772 w 999048"/>
                      <a:gd name="connsiteY41" fmla="*/ 981085 h 1114474"/>
                      <a:gd name="connsiteX42" fmla="*/ 263319 w 999048"/>
                      <a:gd name="connsiteY42" fmla="*/ 953290 h 1114474"/>
                      <a:gd name="connsiteX43" fmla="*/ 269408 w 999048"/>
                      <a:gd name="connsiteY43" fmla="*/ 973587 h 1114474"/>
                      <a:gd name="connsiteX44" fmla="*/ 268373 w 999048"/>
                      <a:gd name="connsiteY44" fmla="*/ 1042269 h 1114474"/>
                      <a:gd name="connsiteX45" fmla="*/ 268610 w 999048"/>
                      <a:gd name="connsiteY45" fmla="*/ 1053577 h 1114474"/>
                      <a:gd name="connsiteX46" fmla="*/ 294590 w 999048"/>
                      <a:gd name="connsiteY46" fmla="*/ 985391 h 1114474"/>
                      <a:gd name="connsiteX47" fmla="*/ 308430 w 999048"/>
                      <a:gd name="connsiteY47" fmla="*/ 962156 h 1114474"/>
                      <a:gd name="connsiteX48" fmla="*/ 330898 w 999048"/>
                      <a:gd name="connsiteY48" fmla="*/ 956971 h 1114474"/>
                      <a:gd name="connsiteX49" fmla="*/ 355400 w 999048"/>
                      <a:gd name="connsiteY49" fmla="*/ 838334 h 1114474"/>
                      <a:gd name="connsiteX50" fmla="*/ 329358 w 999048"/>
                      <a:gd name="connsiteY50" fmla="*/ 803163 h 1114474"/>
                      <a:gd name="connsiteX51" fmla="*/ 332919 w 999048"/>
                      <a:gd name="connsiteY51" fmla="*/ 790599 h 1114474"/>
                      <a:gd name="connsiteX52" fmla="*/ 335682 w 999048"/>
                      <a:gd name="connsiteY52" fmla="*/ 781850 h 1114474"/>
                      <a:gd name="connsiteX53" fmla="*/ 328366 w 999048"/>
                      <a:gd name="connsiteY53" fmla="*/ 759243 h 1114474"/>
                      <a:gd name="connsiteX54" fmla="*/ 322628 w 999048"/>
                      <a:gd name="connsiteY54" fmla="*/ 747852 h 1114474"/>
                      <a:gd name="connsiteX55" fmla="*/ 326077 w 999048"/>
                      <a:gd name="connsiteY55" fmla="*/ 717350 h 1114474"/>
                      <a:gd name="connsiteX56" fmla="*/ 334317 w 999048"/>
                      <a:gd name="connsiteY56" fmla="*/ 711440 h 1114474"/>
                      <a:gd name="connsiteX57" fmla="*/ 341788 w 999048"/>
                      <a:gd name="connsiteY57" fmla="*/ 653287 h 1114474"/>
                      <a:gd name="connsiteX58" fmla="*/ 373421 w 999048"/>
                      <a:gd name="connsiteY58" fmla="*/ 627400 h 1114474"/>
                      <a:gd name="connsiteX59" fmla="*/ 412524 w 999048"/>
                      <a:gd name="connsiteY59" fmla="*/ 624324 h 1114474"/>
                      <a:gd name="connsiteX60" fmla="*/ 434783 w 999048"/>
                      <a:gd name="connsiteY60" fmla="*/ 608265 h 1114474"/>
                      <a:gd name="connsiteX61" fmla="*/ 401314 w 999048"/>
                      <a:gd name="connsiteY61" fmla="*/ 571308 h 1114474"/>
                      <a:gd name="connsiteX62" fmla="*/ 408233 w 999048"/>
                      <a:gd name="connsiteY62" fmla="*/ 568423 h 1114474"/>
                      <a:gd name="connsiteX63" fmla="*/ 443165 w 999048"/>
                      <a:gd name="connsiteY63" fmla="*/ 525511 h 1114474"/>
                      <a:gd name="connsiteX64" fmla="*/ 444915 w 999048"/>
                      <a:gd name="connsiteY64" fmla="*/ 505143 h 1114474"/>
                      <a:gd name="connsiteX65" fmla="*/ 454818 w 999048"/>
                      <a:gd name="connsiteY65" fmla="*/ 464328 h 1114474"/>
                      <a:gd name="connsiteX66" fmla="*/ 477408 w 999048"/>
                      <a:gd name="connsiteY66" fmla="*/ 445872 h 1114474"/>
                      <a:gd name="connsiteX67" fmla="*/ 499285 w 999048"/>
                      <a:gd name="connsiteY67" fmla="*/ 423167 h 1114474"/>
                      <a:gd name="connsiteX68" fmla="*/ 499728 w 999048"/>
                      <a:gd name="connsiteY68" fmla="*/ 418622 h 1114474"/>
                      <a:gd name="connsiteX69" fmla="*/ 501367 w 999048"/>
                      <a:gd name="connsiteY69" fmla="*/ 408959 h 1114474"/>
                      <a:gd name="connsiteX70" fmla="*/ 523657 w 999048"/>
                      <a:gd name="connsiteY70" fmla="*/ 391391 h 1114474"/>
                      <a:gd name="connsiteX71" fmla="*/ 538939 w 999048"/>
                      <a:gd name="connsiteY71" fmla="*/ 379439 h 1114474"/>
                      <a:gd name="connsiteX72" fmla="*/ 536170 w 999048"/>
                      <a:gd name="connsiteY72" fmla="*/ 370166 h 1114474"/>
                      <a:gd name="connsiteX73" fmla="*/ 532518 w 999048"/>
                      <a:gd name="connsiteY73" fmla="*/ 359602 h 1114474"/>
                      <a:gd name="connsiteX74" fmla="*/ 559656 w 999048"/>
                      <a:gd name="connsiteY74" fmla="*/ 323706 h 1114474"/>
                      <a:gd name="connsiteX75" fmla="*/ 574911 w 999048"/>
                      <a:gd name="connsiteY75" fmla="*/ 304757 h 1114474"/>
                      <a:gd name="connsiteX76" fmla="*/ 573162 w 999048"/>
                      <a:gd name="connsiteY76" fmla="*/ 297860 h 1114474"/>
                      <a:gd name="connsiteX77" fmla="*/ 567896 w 999048"/>
                      <a:gd name="connsiteY77" fmla="*/ 291467 h 1114474"/>
                      <a:gd name="connsiteX78" fmla="*/ 575907 w 999048"/>
                      <a:gd name="connsiteY78" fmla="*/ 289370 h 1114474"/>
                      <a:gd name="connsiteX79" fmla="*/ 604146 w 999048"/>
                      <a:gd name="connsiteY79" fmla="*/ 292002 h 1114474"/>
                      <a:gd name="connsiteX80" fmla="*/ 624631 w 999048"/>
                      <a:gd name="connsiteY80" fmla="*/ 260990 h 1114474"/>
                      <a:gd name="connsiteX81" fmla="*/ 625982 w 999048"/>
                      <a:gd name="connsiteY81" fmla="*/ 252788 h 1114474"/>
                      <a:gd name="connsiteX82" fmla="*/ 632843 w 999048"/>
                      <a:gd name="connsiteY82" fmla="*/ 257478 h 1114474"/>
                      <a:gd name="connsiteX83" fmla="*/ 638365 w 999048"/>
                      <a:gd name="connsiteY83" fmla="*/ 258120 h 1114474"/>
                      <a:gd name="connsiteX84" fmla="*/ 648565 w 999048"/>
                      <a:gd name="connsiteY84" fmla="*/ 248518 h 1114474"/>
                      <a:gd name="connsiteX85" fmla="*/ 651977 w 999048"/>
                      <a:gd name="connsiteY85" fmla="*/ 236009 h 1114474"/>
                      <a:gd name="connsiteX86" fmla="*/ 656928 w 999048"/>
                      <a:gd name="connsiteY86" fmla="*/ 219537 h 1114474"/>
                      <a:gd name="connsiteX87" fmla="*/ 674631 w 999048"/>
                      <a:gd name="connsiteY87" fmla="*/ 205811 h 1114474"/>
                      <a:gd name="connsiteX88" fmla="*/ 676454 w 999048"/>
                      <a:gd name="connsiteY88" fmla="*/ 178727 h 1114474"/>
                      <a:gd name="connsiteX89" fmla="*/ 689474 w 999048"/>
                      <a:gd name="connsiteY89" fmla="*/ 174498 h 1114474"/>
                      <a:gd name="connsiteX90" fmla="*/ 714443 w 999048"/>
                      <a:gd name="connsiteY90" fmla="*/ 191315 h 1114474"/>
                      <a:gd name="connsiteX91" fmla="*/ 716072 w 999048"/>
                      <a:gd name="connsiteY91" fmla="*/ 193465 h 1114474"/>
                      <a:gd name="connsiteX92" fmla="*/ 735770 w 999048"/>
                      <a:gd name="connsiteY92" fmla="*/ 214888 h 1114474"/>
                      <a:gd name="connsiteX93" fmla="*/ 762225 w 999048"/>
                      <a:gd name="connsiteY93" fmla="*/ 219832 h 1114474"/>
                      <a:gd name="connsiteX94" fmla="*/ 765596 w 999048"/>
                      <a:gd name="connsiteY94" fmla="*/ 218414 h 1114474"/>
                      <a:gd name="connsiteX95" fmla="*/ 768117 w 999048"/>
                      <a:gd name="connsiteY95" fmla="*/ 221063 h 1114474"/>
                      <a:gd name="connsiteX96" fmla="*/ 787683 w 999048"/>
                      <a:gd name="connsiteY96" fmla="*/ 227567 h 1114474"/>
                      <a:gd name="connsiteX97" fmla="*/ 801647 w 999048"/>
                      <a:gd name="connsiteY97" fmla="*/ 222001 h 1114474"/>
                      <a:gd name="connsiteX98" fmla="*/ 834797 w 999048"/>
                      <a:gd name="connsiteY98" fmla="*/ 198828 h 1114474"/>
                      <a:gd name="connsiteX99" fmla="*/ 839707 w 999048"/>
                      <a:gd name="connsiteY99" fmla="*/ 165093 h 1114474"/>
                      <a:gd name="connsiteX100" fmla="*/ 838304 w 999048"/>
                      <a:gd name="connsiteY100" fmla="*/ 163019 h 1114474"/>
                      <a:gd name="connsiteX101" fmla="*/ 834287 w 999048"/>
                      <a:gd name="connsiteY101" fmla="*/ 155520 h 1114474"/>
                      <a:gd name="connsiteX102" fmla="*/ 835358 w 999048"/>
                      <a:gd name="connsiteY102" fmla="*/ 141260 h 1114474"/>
                      <a:gd name="connsiteX103" fmla="*/ 854920 w 999048"/>
                      <a:gd name="connsiteY103" fmla="*/ 103124 h 1114474"/>
                      <a:gd name="connsiteX104" fmla="*/ 860459 w 999048"/>
                      <a:gd name="connsiteY104" fmla="*/ 95733 h 1114474"/>
                      <a:gd name="connsiteX105" fmla="*/ 864040 w 999048"/>
                      <a:gd name="connsiteY105" fmla="*/ 104238 h 1114474"/>
                      <a:gd name="connsiteX106" fmla="*/ 875262 w 999048"/>
                      <a:gd name="connsiteY106" fmla="*/ 112346 h 1114474"/>
                      <a:gd name="connsiteX107" fmla="*/ 888575 w 999048"/>
                      <a:gd name="connsiteY107" fmla="*/ 108668 h 1114474"/>
                      <a:gd name="connsiteX108" fmla="*/ 891538 w 999048"/>
                      <a:gd name="connsiteY108" fmla="*/ 104865 h 1114474"/>
                      <a:gd name="connsiteX109" fmla="*/ 896170 w 999048"/>
                      <a:gd name="connsiteY109" fmla="*/ 99184 h 1114474"/>
                      <a:gd name="connsiteX110" fmla="*/ 921261 w 999048"/>
                      <a:gd name="connsiteY110" fmla="*/ 94874 h 1114474"/>
                      <a:gd name="connsiteX111" fmla="*/ 923815 w 999048"/>
                      <a:gd name="connsiteY111" fmla="*/ 96035 h 1114474"/>
                      <a:gd name="connsiteX112" fmla="*/ 926581 w 999048"/>
                      <a:gd name="connsiteY112" fmla="*/ 111843 h 1114474"/>
                      <a:gd name="connsiteX113" fmla="*/ 948916 w 999048"/>
                      <a:gd name="connsiteY113" fmla="*/ 124781 h 1114474"/>
                      <a:gd name="connsiteX114" fmla="*/ 953326 w 999048"/>
                      <a:gd name="connsiteY114" fmla="*/ 142266 h 1114474"/>
                      <a:gd name="connsiteX115" fmla="*/ 999048 w 999048"/>
                      <a:gd name="connsiteY115" fmla="*/ 120178 h 1114474"/>
                      <a:gd name="connsiteX116" fmla="*/ 991889 w 999048"/>
                      <a:gd name="connsiteY116" fmla="*/ 58064 h 11144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</a:cxnLst>
                    <a:rect l="l" t="t" r="r" b="b"/>
                    <a:pathLst>
                      <a:path w="999048" h="1114474">
                        <a:moveTo>
                          <a:pt x="991889" y="58064"/>
                        </a:moveTo>
                        <a:cubicBezTo>
                          <a:pt x="993626" y="50683"/>
                          <a:pt x="989610" y="51409"/>
                          <a:pt x="987733" y="44063"/>
                        </a:cubicBezTo>
                        <a:cubicBezTo>
                          <a:pt x="974493" y="56424"/>
                          <a:pt x="948708" y="47925"/>
                          <a:pt x="945414" y="30113"/>
                        </a:cubicBezTo>
                        <a:cubicBezTo>
                          <a:pt x="928619" y="27927"/>
                          <a:pt x="911985" y="44021"/>
                          <a:pt x="913615" y="60878"/>
                        </a:cubicBezTo>
                        <a:cubicBezTo>
                          <a:pt x="903633" y="59193"/>
                          <a:pt x="893653" y="57507"/>
                          <a:pt x="883671" y="55822"/>
                        </a:cubicBezTo>
                        <a:cubicBezTo>
                          <a:pt x="892167" y="37213"/>
                          <a:pt x="900664" y="18607"/>
                          <a:pt x="909159" y="0"/>
                        </a:cubicBezTo>
                        <a:cubicBezTo>
                          <a:pt x="883366" y="11879"/>
                          <a:pt x="866110" y="40218"/>
                          <a:pt x="867399" y="68587"/>
                        </a:cubicBezTo>
                        <a:cubicBezTo>
                          <a:pt x="852594" y="69126"/>
                          <a:pt x="841583" y="49472"/>
                          <a:pt x="849775" y="37127"/>
                        </a:cubicBezTo>
                        <a:cubicBezTo>
                          <a:pt x="842119" y="46273"/>
                          <a:pt x="834463" y="55418"/>
                          <a:pt x="826807" y="64562"/>
                        </a:cubicBezTo>
                        <a:cubicBezTo>
                          <a:pt x="814049" y="49148"/>
                          <a:pt x="822763" y="21634"/>
                          <a:pt x="842068" y="16377"/>
                        </a:cubicBezTo>
                        <a:cubicBezTo>
                          <a:pt x="824652" y="10595"/>
                          <a:pt x="806794" y="24308"/>
                          <a:pt x="796101" y="39224"/>
                        </a:cubicBezTo>
                        <a:cubicBezTo>
                          <a:pt x="785414" y="54140"/>
                          <a:pt x="777014" y="72004"/>
                          <a:pt x="760926" y="80834"/>
                        </a:cubicBezTo>
                        <a:cubicBezTo>
                          <a:pt x="744613" y="89787"/>
                          <a:pt x="724103" y="87219"/>
                          <a:pt x="707188" y="94967"/>
                        </a:cubicBezTo>
                        <a:cubicBezTo>
                          <a:pt x="690270" y="102715"/>
                          <a:pt x="682519" y="132160"/>
                          <a:pt x="700387" y="137350"/>
                        </a:cubicBezTo>
                        <a:cubicBezTo>
                          <a:pt x="677293" y="141804"/>
                          <a:pt x="654198" y="146258"/>
                          <a:pt x="631108" y="150713"/>
                        </a:cubicBezTo>
                        <a:cubicBezTo>
                          <a:pt x="638888" y="161399"/>
                          <a:pt x="646667" y="172085"/>
                          <a:pt x="654447" y="182771"/>
                        </a:cubicBezTo>
                        <a:cubicBezTo>
                          <a:pt x="630827" y="181376"/>
                          <a:pt x="603732" y="181318"/>
                          <a:pt x="587882" y="198887"/>
                        </a:cubicBezTo>
                        <a:cubicBezTo>
                          <a:pt x="580626" y="206929"/>
                          <a:pt x="576999" y="217504"/>
                          <a:pt x="573354" y="227702"/>
                        </a:cubicBezTo>
                        <a:cubicBezTo>
                          <a:pt x="566679" y="246374"/>
                          <a:pt x="559347" y="264811"/>
                          <a:pt x="551374" y="282968"/>
                        </a:cubicBezTo>
                        <a:cubicBezTo>
                          <a:pt x="541882" y="304586"/>
                          <a:pt x="530261" y="327135"/>
                          <a:pt x="509565" y="338495"/>
                        </a:cubicBezTo>
                        <a:cubicBezTo>
                          <a:pt x="503101" y="331353"/>
                          <a:pt x="493691" y="326963"/>
                          <a:pt x="484065" y="326596"/>
                        </a:cubicBezTo>
                        <a:cubicBezTo>
                          <a:pt x="482675" y="360630"/>
                          <a:pt x="423901" y="369140"/>
                          <a:pt x="422722" y="403184"/>
                        </a:cubicBezTo>
                        <a:cubicBezTo>
                          <a:pt x="422411" y="412176"/>
                          <a:pt x="426603" y="421279"/>
                          <a:pt x="424231" y="429957"/>
                        </a:cubicBezTo>
                        <a:cubicBezTo>
                          <a:pt x="421072" y="441515"/>
                          <a:pt x="408230" y="446858"/>
                          <a:pt x="398787" y="454235"/>
                        </a:cubicBezTo>
                        <a:cubicBezTo>
                          <a:pt x="360934" y="483807"/>
                          <a:pt x="376429" y="549323"/>
                          <a:pt x="343532" y="584326"/>
                        </a:cubicBezTo>
                        <a:cubicBezTo>
                          <a:pt x="333685" y="591003"/>
                          <a:pt x="317813" y="582488"/>
                          <a:pt x="317932" y="570589"/>
                        </a:cubicBezTo>
                        <a:cubicBezTo>
                          <a:pt x="304628" y="579389"/>
                          <a:pt x="293433" y="591356"/>
                          <a:pt x="285536" y="605217"/>
                        </a:cubicBezTo>
                        <a:cubicBezTo>
                          <a:pt x="257118" y="655097"/>
                          <a:pt x="199056" y="708633"/>
                          <a:pt x="143223" y="721988"/>
                        </a:cubicBezTo>
                        <a:cubicBezTo>
                          <a:pt x="118338" y="727939"/>
                          <a:pt x="91593" y="728351"/>
                          <a:pt x="69046" y="740451"/>
                        </a:cubicBezTo>
                        <a:cubicBezTo>
                          <a:pt x="39980" y="756052"/>
                          <a:pt x="22941" y="791369"/>
                          <a:pt x="28824" y="823829"/>
                        </a:cubicBezTo>
                        <a:cubicBezTo>
                          <a:pt x="41558" y="825992"/>
                          <a:pt x="40282" y="844700"/>
                          <a:pt x="35597" y="856734"/>
                        </a:cubicBezTo>
                        <a:cubicBezTo>
                          <a:pt x="28935" y="873846"/>
                          <a:pt x="22275" y="890961"/>
                          <a:pt x="15614" y="908075"/>
                        </a:cubicBezTo>
                        <a:cubicBezTo>
                          <a:pt x="23656" y="908606"/>
                          <a:pt x="31696" y="909137"/>
                          <a:pt x="39739" y="909669"/>
                        </a:cubicBezTo>
                        <a:cubicBezTo>
                          <a:pt x="45022" y="933054"/>
                          <a:pt x="27710" y="959062"/>
                          <a:pt x="4099" y="963211"/>
                        </a:cubicBezTo>
                        <a:cubicBezTo>
                          <a:pt x="11744" y="970153"/>
                          <a:pt x="19388" y="977097"/>
                          <a:pt x="27034" y="984041"/>
                        </a:cubicBezTo>
                        <a:cubicBezTo>
                          <a:pt x="25933" y="1005441"/>
                          <a:pt x="172" y="1019737"/>
                          <a:pt x="1" y="1041163"/>
                        </a:cubicBezTo>
                        <a:cubicBezTo>
                          <a:pt x="-109" y="1054545"/>
                          <a:pt x="9912" y="1065592"/>
                          <a:pt x="19394" y="1075033"/>
                        </a:cubicBezTo>
                        <a:cubicBezTo>
                          <a:pt x="33302" y="1088874"/>
                          <a:pt x="47939" y="1102818"/>
                          <a:pt x="66182" y="1110043"/>
                        </a:cubicBezTo>
                        <a:cubicBezTo>
                          <a:pt x="84423" y="1117266"/>
                          <a:pt x="107294" y="1116262"/>
                          <a:pt x="121312" y="1102536"/>
                        </a:cubicBezTo>
                        <a:cubicBezTo>
                          <a:pt x="133345" y="1090752"/>
                          <a:pt x="137319" y="1071568"/>
                          <a:pt x="151576" y="1062601"/>
                        </a:cubicBezTo>
                        <a:cubicBezTo>
                          <a:pt x="160750" y="1056831"/>
                          <a:pt x="172259" y="1056613"/>
                          <a:pt x="182554" y="1053232"/>
                        </a:cubicBezTo>
                        <a:cubicBezTo>
                          <a:pt x="211727" y="1043651"/>
                          <a:pt x="226218" y="1011083"/>
                          <a:pt x="232772" y="981085"/>
                        </a:cubicBezTo>
                        <a:cubicBezTo>
                          <a:pt x="236313" y="964874"/>
                          <a:pt x="250204" y="943128"/>
                          <a:pt x="263319" y="953290"/>
                        </a:cubicBezTo>
                        <a:cubicBezTo>
                          <a:pt x="269122" y="957786"/>
                          <a:pt x="269520" y="966248"/>
                          <a:pt x="269408" y="973587"/>
                        </a:cubicBezTo>
                        <a:cubicBezTo>
                          <a:pt x="269064" y="996481"/>
                          <a:pt x="268719" y="1019374"/>
                          <a:pt x="268373" y="1042269"/>
                        </a:cubicBezTo>
                        <a:cubicBezTo>
                          <a:pt x="268319" y="1046015"/>
                          <a:pt x="268350" y="1049820"/>
                          <a:pt x="268610" y="1053577"/>
                        </a:cubicBezTo>
                        <a:lnTo>
                          <a:pt x="294590" y="985391"/>
                        </a:lnTo>
                        <a:cubicBezTo>
                          <a:pt x="297444" y="977887"/>
                          <a:pt x="301001" y="968541"/>
                          <a:pt x="308430" y="962156"/>
                        </a:cubicBezTo>
                        <a:cubicBezTo>
                          <a:pt x="314289" y="957126"/>
                          <a:pt x="323295" y="954587"/>
                          <a:pt x="330898" y="956971"/>
                        </a:cubicBezTo>
                        <a:cubicBezTo>
                          <a:pt x="325995" y="916194"/>
                          <a:pt x="334577" y="873741"/>
                          <a:pt x="355400" y="838334"/>
                        </a:cubicBezTo>
                        <a:cubicBezTo>
                          <a:pt x="345019" y="832604"/>
                          <a:pt x="327878" y="820947"/>
                          <a:pt x="329358" y="803163"/>
                        </a:cubicBezTo>
                        <a:cubicBezTo>
                          <a:pt x="329741" y="798537"/>
                          <a:pt x="331356" y="794501"/>
                          <a:pt x="332919" y="790599"/>
                        </a:cubicBezTo>
                        <a:cubicBezTo>
                          <a:pt x="334137" y="787549"/>
                          <a:pt x="335290" y="784666"/>
                          <a:pt x="335682" y="781850"/>
                        </a:cubicBezTo>
                        <a:cubicBezTo>
                          <a:pt x="336712" y="774400"/>
                          <a:pt x="332655" y="767034"/>
                          <a:pt x="328366" y="759243"/>
                        </a:cubicBezTo>
                        <a:cubicBezTo>
                          <a:pt x="326289" y="755478"/>
                          <a:pt x="324223" y="751703"/>
                          <a:pt x="322628" y="747852"/>
                        </a:cubicBezTo>
                        <a:cubicBezTo>
                          <a:pt x="318585" y="738102"/>
                          <a:pt x="320062" y="724986"/>
                          <a:pt x="326077" y="717350"/>
                        </a:cubicBezTo>
                        <a:cubicBezTo>
                          <a:pt x="328372" y="714430"/>
                          <a:pt x="331182" y="712434"/>
                          <a:pt x="334317" y="711440"/>
                        </a:cubicBezTo>
                        <a:cubicBezTo>
                          <a:pt x="329923" y="691624"/>
                          <a:pt x="332630" y="669873"/>
                          <a:pt x="341788" y="653287"/>
                        </a:cubicBezTo>
                        <a:cubicBezTo>
                          <a:pt x="349151" y="639957"/>
                          <a:pt x="360090" y="631007"/>
                          <a:pt x="373421" y="627400"/>
                        </a:cubicBezTo>
                        <a:cubicBezTo>
                          <a:pt x="386818" y="623778"/>
                          <a:pt x="400384" y="626055"/>
                          <a:pt x="412524" y="624324"/>
                        </a:cubicBezTo>
                        <a:cubicBezTo>
                          <a:pt x="422419" y="622921"/>
                          <a:pt x="433064" y="616904"/>
                          <a:pt x="434783" y="608265"/>
                        </a:cubicBezTo>
                        <a:lnTo>
                          <a:pt x="401314" y="571308"/>
                        </a:lnTo>
                        <a:lnTo>
                          <a:pt x="408233" y="568423"/>
                        </a:lnTo>
                        <a:cubicBezTo>
                          <a:pt x="425828" y="561075"/>
                          <a:pt x="439541" y="544228"/>
                          <a:pt x="443165" y="525511"/>
                        </a:cubicBezTo>
                        <a:cubicBezTo>
                          <a:pt x="444414" y="519068"/>
                          <a:pt x="444671" y="511991"/>
                          <a:pt x="444915" y="505143"/>
                        </a:cubicBezTo>
                        <a:cubicBezTo>
                          <a:pt x="445426" y="490992"/>
                          <a:pt x="445957" y="476356"/>
                          <a:pt x="454818" y="464328"/>
                        </a:cubicBezTo>
                        <a:cubicBezTo>
                          <a:pt x="460671" y="456387"/>
                          <a:pt x="469179" y="451044"/>
                          <a:pt x="477408" y="445872"/>
                        </a:cubicBezTo>
                        <a:cubicBezTo>
                          <a:pt x="488187" y="439105"/>
                          <a:pt x="497499" y="433259"/>
                          <a:pt x="499285" y="423167"/>
                        </a:cubicBezTo>
                        <a:cubicBezTo>
                          <a:pt x="499547" y="421675"/>
                          <a:pt x="499631" y="420143"/>
                          <a:pt x="499728" y="418622"/>
                        </a:cubicBezTo>
                        <a:cubicBezTo>
                          <a:pt x="499913" y="415652"/>
                          <a:pt x="500120" y="412289"/>
                          <a:pt x="501367" y="408959"/>
                        </a:cubicBezTo>
                        <a:cubicBezTo>
                          <a:pt x="505028" y="399220"/>
                          <a:pt x="514926" y="395059"/>
                          <a:pt x="523657" y="391391"/>
                        </a:cubicBezTo>
                        <a:cubicBezTo>
                          <a:pt x="532859" y="387525"/>
                          <a:pt x="538481" y="384795"/>
                          <a:pt x="538939" y="379439"/>
                        </a:cubicBezTo>
                        <a:cubicBezTo>
                          <a:pt x="539180" y="376644"/>
                          <a:pt x="537784" y="373639"/>
                          <a:pt x="536170" y="370166"/>
                        </a:cubicBezTo>
                        <a:cubicBezTo>
                          <a:pt x="534724" y="367053"/>
                          <a:pt x="533090" y="363528"/>
                          <a:pt x="532518" y="359602"/>
                        </a:cubicBezTo>
                        <a:cubicBezTo>
                          <a:pt x="529966" y="342183"/>
                          <a:pt x="547833" y="331065"/>
                          <a:pt x="559656" y="323706"/>
                        </a:cubicBezTo>
                        <a:cubicBezTo>
                          <a:pt x="567624" y="318749"/>
                          <a:pt x="573897" y="310956"/>
                          <a:pt x="574911" y="304757"/>
                        </a:cubicBezTo>
                        <a:cubicBezTo>
                          <a:pt x="575356" y="302044"/>
                          <a:pt x="574802" y="299851"/>
                          <a:pt x="573162" y="297860"/>
                        </a:cubicBezTo>
                        <a:lnTo>
                          <a:pt x="567896" y="291467"/>
                        </a:lnTo>
                        <a:lnTo>
                          <a:pt x="575907" y="289370"/>
                        </a:lnTo>
                        <a:cubicBezTo>
                          <a:pt x="585300" y="286936"/>
                          <a:pt x="595417" y="287894"/>
                          <a:pt x="604146" y="292002"/>
                        </a:cubicBezTo>
                        <a:cubicBezTo>
                          <a:pt x="614821" y="285138"/>
                          <a:pt x="622574" y="273491"/>
                          <a:pt x="624631" y="260990"/>
                        </a:cubicBezTo>
                        <a:lnTo>
                          <a:pt x="625982" y="252788"/>
                        </a:lnTo>
                        <a:lnTo>
                          <a:pt x="632843" y="257478"/>
                        </a:lnTo>
                        <a:cubicBezTo>
                          <a:pt x="634402" y="258547"/>
                          <a:pt x="636214" y="258756"/>
                          <a:pt x="638365" y="258120"/>
                        </a:cubicBezTo>
                        <a:cubicBezTo>
                          <a:pt x="642478" y="256916"/>
                          <a:pt x="646669" y="252969"/>
                          <a:pt x="648565" y="248518"/>
                        </a:cubicBezTo>
                        <a:cubicBezTo>
                          <a:pt x="650187" y="244705"/>
                          <a:pt x="651061" y="240483"/>
                          <a:pt x="651977" y="236009"/>
                        </a:cubicBezTo>
                        <a:cubicBezTo>
                          <a:pt x="653102" y="230549"/>
                          <a:pt x="654264" y="224900"/>
                          <a:pt x="656928" y="219537"/>
                        </a:cubicBezTo>
                        <a:cubicBezTo>
                          <a:pt x="660340" y="212672"/>
                          <a:pt x="667398" y="207280"/>
                          <a:pt x="674631" y="205811"/>
                        </a:cubicBezTo>
                        <a:cubicBezTo>
                          <a:pt x="669719" y="196048"/>
                          <a:pt x="668828" y="185565"/>
                          <a:pt x="676454" y="178727"/>
                        </a:cubicBezTo>
                        <a:cubicBezTo>
                          <a:pt x="680076" y="175489"/>
                          <a:pt x="684575" y="174017"/>
                          <a:pt x="689474" y="174498"/>
                        </a:cubicBezTo>
                        <a:cubicBezTo>
                          <a:pt x="699194" y="175428"/>
                          <a:pt x="708750" y="183798"/>
                          <a:pt x="714443" y="191315"/>
                        </a:cubicBezTo>
                        <a:lnTo>
                          <a:pt x="716072" y="193465"/>
                        </a:lnTo>
                        <a:cubicBezTo>
                          <a:pt x="722247" y="201642"/>
                          <a:pt x="728075" y="209370"/>
                          <a:pt x="735770" y="214888"/>
                        </a:cubicBezTo>
                        <a:cubicBezTo>
                          <a:pt x="742604" y="219781"/>
                          <a:pt x="753128" y="223658"/>
                          <a:pt x="762225" y="219832"/>
                        </a:cubicBezTo>
                        <a:lnTo>
                          <a:pt x="765596" y="218414"/>
                        </a:lnTo>
                        <a:lnTo>
                          <a:pt x="768117" y="221063"/>
                        </a:lnTo>
                        <a:cubicBezTo>
                          <a:pt x="773008" y="226204"/>
                          <a:pt x="780618" y="228795"/>
                          <a:pt x="787683" y="227567"/>
                        </a:cubicBezTo>
                        <a:cubicBezTo>
                          <a:pt x="792415" y="226761"/>
                          <a:pt x="797103" y="224341"/>
                          <a:pt x="801647" y="222001"/>
                        </a:cubicBezTo>
                        <a:cubicBezTo>
                          <a:pt x="813218" y="216029"/>
                          <a:pt x="826344" y="209260"/>
                          <a:pt x="834797" y="198828"/>
                        </a:cubicBezTo>
                        <a:cubicBezTo>
                          <a:pt x="842094" y="189826"/>
                          <a:pt x="846123" y="175352"/>
                          <a:pt x="839707" y="165093"/>
                        </a:cubicBezTo>
                        <a:cubicBezTo>
                          <a:pt x="839265" y="164388"/>
                          <a:pt x="838786" y="163703"/>
                          <a:pt x="838304" y="163019"/>
                        </a:cubicBezTo>
                        <a:cubicBezTo>
                          <a:pt x="836840" y="160921"/>
                          <a:pt x="835168" y="158543"/>
                          <a:pt x="834287" y="155520"/>
                        </a:cubicBezTo>
                        <a:cubicBezTo>
                          <a:pt x="832832" y="150587"/>
                          <a:pt x="833945" y="145749"/>
                          <a:pt x="835358" y="141260"/>
                        </a:cubicBezTo>
                        <a:cubicBezTo>
                          <a:pt x="839702" y="127503"/>
                          <a:pt x="846277" y="114675"/>
                          <a:pt x="854920" y="103124"/>
                        </a:cubicBezTo>
                        <a:lnTo>
                          <a:pt x="860459" y="95733"/>
                        </a:lnTo>
                        <a:lnTo>
                          <a:pt x="864040" y="104238"/>
                        </a:lnTo>
                        <a:cubicBezTo>
                          <a:pt x="865789" y="108368"/>
                          <a:pt x="869979" y="111398"/>
                          <a:pt x="875262" y="112346"/>
                        </a:cubicBezTo>
                        <a:cubicBezTo>
                          <a:pt x="880522" y="113315"/>
                          <a:pt x="885519" y="111919"/>
                          <a:pt x="888575" y="108668"/>
                        </a:cubicBezTo>
                        <a:cubicBezTo>
                          <a:pt x="889685" y="107491"/>
                          <a:pt x="890604" y="106175"/>
                          <a:pt x="891538" y="104865"/>
                        </a:cubicBezTo>
                        <a:cubicBezTo>
                          <a:pt x="892959" y="102863"/>
                          <a:pt x="894413" y="100887"/>
                          <a:pt x="896170" y="99184"/>
                        </a:cubicBezTo>
                        <a:cubicBezTo>
                          <a:pt x="902711" y="92903"/>
                          <a:pt x="913022" y="91140"/>
                          <a:pt x="921261" y="94874"/>
                        </a:cubicBezTo>
                        <a:lnTo>
                          <a:pt x="923815" y="96035"/>
                        </a:lnTo>
                        <a:lnTo>
                          <a:pt x="926581" y="111843"/>
                        </a:lnTo>
                        <a:cubicBezTo>
                          <a:pt x="935513" y="111085"/>
                          <a:pt x="944626" y="116921"/>
                          <a:pt x="948916" y="124781"/>
                        </a:cubicBezTo>
                        <a:cubicBezTo>
                          <a:pt x="951947" y="130335"/>
                          <a:pt x="952963" y="136413"/>
                          <a:pt x="953326" y="142266"/>
                        </a:cubicBezTo>
                        <a:cubicBezTo>
                          <a:pt x="965591" y="131867"/>
                          <a:pt x="981186" y="124347"/>
                          <a:pt x="999048" y="120178"/>
                        </a:cubicBezTo>
                        <a:cubicBezTo>
                          <a:pt x="989797" y="101060"/>
                          <a:pt x="987019" y="78765"/>
                          <a:pt x="991889" y="58064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34" name="Forma libre 233">
                    <a:extLst>
                      <a:ext uri="{FF2B5EF4-FFF2-40B4-BE49-F238E27FC236}">
                        <a16:creationId xmlns:a16="http://schemas.microsoft.com/office/drawing/2014/main" id="{BFB65CF9-4036-A446-A44B-A108CE66BEE0}"/>
                      </a:ext>
                    </a:extLst>
                  </p:cNvPr>
                  <p:cNvSpPr/>
                  <p:nvPr/>
                </p:nvSpPr>
                <p:spPr>
                  <a:xfrm>
                    <a:off x="5663696" y="1338308"/>
                    <a:ext cx="548724" cy="1172056"/>
                  </a:xfrm>
                  <a:custGeom>
                    <a:avLst/>
                    <a:gdLst>
                      <a:gd name="connsiteX0" fmla="*/ 542666 w 548724"/>
                      <a:gd name="connsiteY0" fmla="*/ 207025 h 1172056"/>
                      <a:gd name="connsiteX1" fmla="*/ 537443 w 548724"/>
                      <a:gd name="connsiteY1" fmla="*/ 204332 h 1172056"/>
                      <a:gd name="connsiteX2" fmla="*/ 526319 w 548724"/>
                      <a:gd name="connsiteY2" fmla="*/ 196545 h 1172056"/>
                      <a:gd name="connsiteX3" fmla="*/ 527056 w 548724"/>
                      <a:gd name="connsiteY3" fmla="*/ 171999 h 1172056"/>
                      <a:gd name="connsiteX4" fmla="*/ 530440 w 548724"/>
                      <a:gd name="connsiteY4" fmla="*/ 159955 h 1172056"/>
                      <a:gd name="connsiteX5" fmla="*/ 522095 w 548724"/>
                      <a:gd name="connsiteY5" fmla="*/ 143474 h 1172056"/>
                      <a:gd name="connsiteX6" fmla="*/ 515260 w 548724"/>
                      <a:gd name="connsiteY6" fmla="*/ 133741 h 1172056"/>
                      <a:gd name="connsiteX7" fmla="*/ 508905 w 548724"/>
                      <a:gd name="connsiteY7" fmla="*/ 116830 h 1172056"/>
                      <a:gd name="connsiteX8" fmla="*/ 507886 w 548724"/>
                      <a:gd name="connsiteY8" fmla="*/ 113322 h 1172056"/>
                      <a:gd name="connsiteX9" fmla="*/ 475303 w 548724"/>
                      <a:gd name="connsiteY9" fmla="*/ 54917 h 1172056"/>
                      <a:gd name="connsiteX10" fmla="*/ 431457 w 548724"/>
                      <a:gd name="connsiteY10" fmla="*/ 23125 h 1172056"/>
                      <a:gd name="connsiteX11" fmla="*/ 411211 w 548724"/>
                      <a:gd name="connsiteY11" fmla="*/ 1273 h 1172056"/>
                      <a:gd name="connsiteX12" fmla="*/ 411019 w 548724"/>
                      <a:gd name="connsiteY12" fmla="*/ 1471 h 1172056"/>
                      <a:gd name="connsiteX13" fmla="*/ 405847 w 548724"/>
                      <a:gd name="connsiteY13" fmla="*/ 129 h 1172056"/>
                      <a:gd name="connsiteX14" fmla="*/ 395204 w 548724"/>
                      <a:gd name="connsiteY14" fmla="*/ 8334 h 1172056"/>
                      <a:gd name="connsiteX15" fmla="*/ 391139 w 548724"/>
                      <a:gd name="connsiteY15" fmla="*/ 22229 h 1172056"/>
                      <a:gd name="connsiteX16" fmla="*/ 387096 w 548724"/>
                      <a:gd name="connsiteY16" fmla="*/ 36750 h 1172056"/>
                      <a:gd name="connsiteX17" fmla="*/ 370126 w 548724"/>
                      <a:gd name="connsiteY17" fmla="*/ 52372 h 1172056"/>
                      <a:gd name="connsiteX18" fmla="*/ 362482 w 548724"/>
                      <a:gd name="connsiteY18" fmla="*/ 52967 h 1172056"/>
                      <a:gd name="connsiteX19" fmla="*/ 335688 w 548724"/>
                      <a:gd name="connsiteY19" fmla="*/ 86772 h 1172056"/>
                      <a:gd name="connsiteX20" fmla="*/ 333082 w 548724"/>
                      <a:gd name="connsiteY20" fmla="*/ 88215 h 1172056"/>
                      <a:gd name="connsiteX21" fmla="*/ 330501 w 548724"/>
                      <a:gd name="connsiteY21" fmla="*/ 86744 h 1172056"/>
                      <a:gd name="connsiteX22" fmla="*/ 313917 w 548724"/>
                      <a:gd name="connsiteY22" fmla="*/ 82736 h 1172056"/>
                      <a:gd name="connsiteX23" fmla="*/ 314151 w 548724"/>
                      <a:gd name="connsiteY23" fmla="*/ 90559 h 1172056"/>
                      <a:gd name="connsiteX24" fmla="*/ 294045 w 548724"/>
                      <a:gd name="connsiteY24" fmla="*/ 116779 h 1172056"/>
                      <a:gd name="connsiteX25" fmla="*/ 271780 w 548724"/>
                      <a:gd name="connsiteY25" fmla="*/ 142157 h 1172056"/>
                      <a:gd name="connsiteX26" fmla="*/ 274563 w 548724"/>
                      <a:gd name="connsiteY26" fmla="*/ 149790 h 1172056"/>
                      <a:gd name="connsiteX27" fmla="*/ 278283 w 548724"/>
                      <a:gd name="connsiteY27" fmla="*/ 164429 h 1172056"/>
                      <a:gd name="connsiteX28" fmla="*/ 256546 w 548724"/>
                      <a:gd name="connsiteY28" fmla="*/ 185247 h 1172056"/>
                      <a:gd name="connsiteX29" fmla="*/ 240068 w 548724"/>
                      <a:gd name="connsiteY29" fmla="*/ 196769 h 1172056"/>
                      <a:gd name="connsiteX30" fmla="*/ 239084 w 548724"/>
                      <a:gd name="connsiteY30" fmla="*/ 203365 h 1172056"/>
                      <a:gd name="connsiteX31" fmla="*/ 238500 w 548724"/>
                      <a:gd name="connsiteY31" fmla="*/ 209100 h 1172056"/>
                      <a:gd name="connsiteX32" fmla="*/ 211825 w 548724"/>
                      <a:gd name="connsiteY32" fmla="*/ 238932 h 1172056"/>
                      <a:gd name="connsiteX33" fmla="*/ 192131 w 548724"/>
                      <a:gd name="connsiteY33" fmla="*/ 254697 h 1172056"/>
                      <a:gd name="connsiteX34" fmla="*/ 184284 w 548724"/>
                      <a:gd name="connsiteY34" fmla="*/ 289612 h 1172056"/>
                      <a:gd name="connsiteX35" fmla="*/ 182349 w 548724"/>
                      <a:gd name="connsiteY35" fmla="*/ 311611 h 1172056"/>
                      <a:gd name="connsiteX36" fmla="*/ 147719 w 548724"/>
                      <a:gd name="connsiteY36" fmla="*/ 359076 h 1172056"/>
                      <a:gd name="connsiteX37" fmla="*/ 174462 w 548724"/>
                      <a:gd name="connsiteY37" fmla="*/ 388607 h 1172056"/>
                      <a:gd name="connsiteX38" fmla="*/ 174383 w 548724"/>
                      <a:gd name="connsiteY38" fmla="*/ 390758 h 1172056"/>
                      <a:gd name="connsiteX39" fmla="*/ 142797 w 548724"/>
                      <a:gd name="connsiteY39" fmla="*/ 418900 h 1172056"/>
                      <a:gd name="connsiteX40" fmla="*/ 104972 w 548724"/>
                      <a:gd name="connsiteY40" fmla="*/ 421708 h 1172056"/>
                      <a:gd name="connsiteX41" fmla="*/ 79845 w 548724"/>
                      <a:gd name="connsiteY41" fmla="*/ 442500 h 1172056"/>
                      <a:gd name="connsiteX42" fmla="*/ 74876 w 548724"/>
                      <a:gd name="connsiteY42" fmla="*/ 498694 h 1172056"/>
                      <a:gd name="connsiteX43" fmla="*/ 77357 w 548724"/>
                      <a:gd name="connsiteY43" fmla="*/ 506790 h 1172056"/>
                      <a:gd name="connsiteX44" fmla="*/ 68991 w 548724"/>
                      <a:gd name="connsiteY44" fmla="*/ 505471 h 1172056"/>
                      <a:gd name="connsiteX45" fmla="*/ 63186 w 548724"/>
                      <a:gd name="connsiteY45" fmla="*/ 507987 h 1172056"/>
                      <a:gd name="connsiteX46" fmla="*/ 61199 w 548724"/>
                      <a:gd name="connsiteY46" fmla="*/ 527887 h 1172056"/>
                      <a:gd name="connsiteX47" fmla="*/ 66429 w 548724"/>
                      <a:gd name="connsiteY47" fmla="*/ 538223 h 1172056"/>
                      <a:gd name="connsiteX48" fmla="*/ 74957 w 548724"/>
                      <a:gd name="connsiteY48" fmla="*/ 567393 h 1172056"/>
                      <a:gd name="connsiteX49" fmla="*/ 71536 w 548724"/>
                      <a:gd name="connsiteY49" fmla="*/ 578624 h 1172056"/>
                      <a:gd name="connsiteX50" fmla="*/ 68699 w 548724"/>
                      <a:gd name="connsiteY50" fmla="*/ 588132 h 1172056"/>
                      <a:gd name="connsiteX51" fmla="*/ 94039 w 548724"/>
                      <a:gd name="connsiteY51" fmla="*/ 615629 h 1172056"/>
                      <a:gd name="connsiteX52" fmla="*/ 99240 w 548724"/>
                      <a:gd name="connsiteY52" fmla="*/ 618259 h 1172056"/>
                      <a:gd name="connsiteX53" fmla="*/ 96121 w 548724"/>
                      <a:gd name="connsiteY53" fmla="*/ 623190 h 1172056"/>
                      <a:gd name="connsiteX54" fmla="*/ 75626 w 548724"/>
                      <a:gd name="connsiteY54" fmla="*/ 766718 h 1172056"/>
                      <a:gd name="connsiteX55" fmla="*/ 76530 w 548724"/>
                      <a:gd name="connsiteY55" fmla="*/ 769829 h 1172056"/>
                      <a:gd name="connsiteX56" fmla="*/ 75028 w 548724"/>
                      <a:gd name="connsiteY56" fmla="*/ 823288 h 1172056"/>
                      <a:gd name="connsiteX57" fmla="*/ 69983 w 548724"/>
                      <a:gd name="connsiteY57" fmla="*/ 829342 h 1172056"/>
                      <a:gd name="connsiteX58" fmla="*/ 66285 w 548724"/>
                      <a:gd name="connsiteY58" fmla="*/ 822388 h 1172056"/>
                      <a:gd name="connsiteX59" fmla="*/ 57087 w 548724"/>
                      <a:gd name="connsiteY59" fmla="*/ 751385 h 1172056"/>
                      <a:gd name="connsiteX60" fmla="*/ 44117 w 548724"/>
                      <a:gd name="connsiteY60" fmla="*/ 754280 h 1172056"/>
                      <a:gd name="connsiteX61" fmla="*/ 33270 w 548724"/>
                      <a:gd name="connsiteY61" fmla="*/ 773253 h 1172056"/>
                      <a:gd name="connsiteX62" fmla="*/ 3490 w 548724"/>
                      <a:gd name="connsiteY62" fmla="*/ 851426 h 1172056"/>
                      <a:gd name="connsiteX63" fmla="*/ 0 w 548724"/>
                      <a:gd name="connsiteY63" fmla="*/ 850094 h 1172056"/>
                      <a:gd name="connsiteX64" fmla="*/ 1128 w 548724"/>
                      <a:gd name="connsiteY64" fmla="*/ 853070 h 1172056"/>
                      <a:gd name="connsiteX65" fmla="*/ 14300 w 548724"/>
                      <a:gd name="connsiteY65" fmla="*/ 869847 h 1172056"/>
                      <a:gd name="connsiteX66" fmla="*/ 43455 w 548724"/>
                      <a:gd name="connsiteY66" fmla="*/ 1025972 h 1172056"/>
                      <a:gd name="connsiteX67" fmla="*/ 51544 w 548724"/>
                      <a:gd name="connsiteY67" fmla="*/ 1039165 h 1172056"/>
                      <a:gd name="connsiteX68" fmla="*/ 42226 w 548724"/>
                      <a:gd name="connsiteY68" fmla="*/ 1064428 h 1172056"/>
                      <a:gd name="connsiteX69" fmla="*/ 49384 w 548724"/>
                      <a:gd name="connsiteY69" fmla="*/ 1130835 h 1172056"/>
                      <a:gd name="connsiteX70" fmla="*/ 72647 w 548724"/>
                      <a:gd name="connsiteY70" fmla="*/ 1166539 h 1172056"/>
                      <a:gd name="connsiteX71" fmla="*/ 110525 w 548724"/>
                      <a:gd name="connsiteY71" fmla="*/ 1161520 h 1172056"/>
                      <a:gd name="connsiteX72" fmla="*/ 113138 w 548724"/>
                      <a:gd name="connsiteY72" fmla="*/ 1119884 h 1172056"/>
                      <a:gd name="connsiteX73" fmla="*/ 126819 w 548724"/>
                      <a:gd name="connsiteY73" fmla="*/ 1101623 h 1172056"/>
                      <a:gd name="connsiteX74" fmla="*/ 171332 w 548724"/>
                      <a:gd name="connsiteY74" fmla="*/ 1092460 h 1172056"/>
                      <a:gd name="connsiteX75" fmla="*/ 179647 w 548724"/>
                      <a:gd name="connsiteY75" fmla="*/ 1105174 h 1172056"/>
                      <a:gd name="connsiteX76" fmla="*/ 199751 w 548724"/>
                      <a:gd name="connsiteY76" fmla="*/ 1093746 h 1172056"/>
                      <a:gd name="connsiteX77" fmla="*/ 245040 w 548724"/>
                      <a:gd name="connsiteY77" fmla="*/ 867114 h 1172056"/>
                      <a:gd name="connsiteX78" fmla="*/ 266908 w 548724"/>
                      <a:gd name="connsiteY78" fmla="*/ 878466 h 1172056"/>
                      <a:gd name="connsiteX79" fmla="*/ 284117 w 548724"/>
                      <a:gd name="connsiteY79" fmla="*/ 853037 h 1172056"/>
                      <a:gd name="connsiteX80" fmla="*/ 312192 w 548724"/>
                      <a:gd name="connsiteY80" fmla="*/ 854202 h 1172056"/>
                      <a:gd name="connsiteX81" fmla="*/ 318427 w 548724"/>
                      <a:gd name="connsiteY81" fmla="*/ 818864 h 1172056"/>
                      <a:gd name="connsiteX82" fmla="*/ 355370 w 548724"/>
                      <a:gd name="connsiteY82" fmla="*/ 797297 h 1172056"/>
                      <a:gd name="connsiteX83" fmla="*/ 344412 w 548724"/>
                      <a:gd name="connsiteY83" fmla="*/ 746330 h 1172056"/>
                      <a:gd name="connsiteX84" fmla="*/ 278923 w 548724"/>
                      <a:gd name="connsiteY84" fmla="*/ 644479 h 1172056"/>
                      <a:gd name="connsiteX85" fmla="*/ 300394 w 548724"/>
                      <a:gd name="connsiteY85" fmla="*/ 558106 h 1172056"/>
                      <a:gd name="connsiteX86" fmla="*/ 270954 w 548724"/>
                      <a:gd name="connsiteY86" fmla="*/ 542407 h 1172056"/>
                      <a:gd name="connsiteX87" fmla="*/ 386602 w 548724"/>
                      <a:gd name="connsiteY87" fmla="*/ 471308 h 1172056"/>
                      <a:gd name="connsiteX88" fmla="*/ 431006 w 548724"/>
                      <a:gd name="connsiteY88" fmla="*/ 441461 h 1172056"/>
                      <a:gd name="connsiteX89" fmla="*/ 452434 w 548724"/>
                      <a:gd name="connsiteY89" fmla="*/ 346478 h 1172056"/>
                      <a:gd name="connsiteX90" fmla="*/ 459818 w 548724"/>
                      <a:gd name="connsiteY90" fmla="*/ 273915 h 1172056"/>
                      <a:gd name="connsiteX91" fmla="*/ 548462 w 548724"/>
                      <a:gd name="connsiteY91" fmla="*/ 262863 h 1172056"/>
                      <a:gd name="connsiteX92" fmla="*/ 547803 w 548724"/>
                      <a:gd name="connsiteY92" fmla="*/ 235261 h 1172056"/>
                      <a:gd name="connsiteX93" fmla="*/ 542666 w 548724"/>
                      <a:gd name="connsiteY93" fmla="*/ 207025 h 11720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</a:cxnLst>
                    <a:rect l="l" t="t" r="r" b="b"/>
                    <a:pathLst>
                      <a:path w="548724" h="1172056">
                        <a:moveTo>
                          <a:pt x="542666" y="207025"/>
                        </a:moveTo>
                        <a:cubicBezTo>
                          <a:pt x="541075" y="205915"/>
                          <a:pt x="539250" y="205137"/>
                          <a:pt x="537443" y="204332"/>
                        </a:cubicBezTo>
                        <a:cubicBezTo>
                          <a:pt x="533635" y="202629"/>
                          <a:pt x="529307" y="200701"/>
                          <a:pt x="526319" y="196545"/>
                        </a:cubicBezTo>
                        <a:cubicBezTo>
                          <a:pt x="520488" y="188453"/>
                          <a:pt x="523978" y="179714"/>
                          <a:pt x="527056" y="171999"/>
                        </a:cubicBezTo>
                        <a:cubicBezTo>
                          <a:pt x="528709" y="167871"/>
                          <a:pt x="530404" y="163601"/>
                          <a:pt x="530440" y="159955"/>
                        </a:cubicBezTo>
                        <a:cubicBezTo>
                          <a:pt x="530489" y="154256"/>
                          <a:pt x="526408" y="149017"/>
                          <a:pt x="522095" y="143474"/>
                        </a:cubicBezTo>
                        <a:cubicBezTo>
                          <a:pt x="519715" y="140405"/>
                          <a:pt x="517240" y="137233"/>
                          <a:pt x="515260" y="133741"/>
                        </a:cubicBezTo>
                        <a:cubicBezTo>
                          <a:pt x="512166" y="128303"/>
                          <a:pt x="510509" y="122472"/>
                          <a:pt x="508905" y="116830"/>
                        </a:cubicBezTo>
                        <a:lnTo>
                          <a:pt x="507886" y="113322"/>
                        </a:lnTo>
                        <a:cubicBezTo>
                          <a:pt x="501510" y="91815"/>
                          <a:pt x="490260" y="71643"/>
                          <a:pt x="475303" y="54917"/>
                        </a:cubicBezTo>
                        <a:cubicBezTo>
                          <a:pt x="460940" y="48611"/>
                          <a:pt x="447369" y="38764"/>
                          <a:pt x="431457" y="23125"/>
                        </a:cubicBezTo>
                        <a:cubicBezTo>
                          <a:pt x="424408" y="16194"/>
                          <a:pt x="417620" y="8835"/>
                          <a:pt x="411211" y="1273"/>
                        </a:cubicBezTo>
                        <a:lnTo>
                          <a:pt x="411019" y="1471"/>
                        </a:lnTo>
                        <a:cubicBezTo>
                          <a:pt x="410539" y="998"/>
                          <a:pt x="409060" y="-433"/>
                          <a:pt x="405847" y="129"/>
                        </a:cubicBezTo>
                        <a:cubicBezTo>
                          <a:pt x="401693" y="828"/>
                          <a:pt x="397215" y="4273"/>
                          <a:pt x="395204" y="8334"/>
                        </a:cubicBezTo>
                        <a:cubicBezTo>
                          <a:pt x="393152" y="12465"/>
                          <a:pt x="392172" y="17210"/>
                          <a:pt x="391139" y="22229"/>
                        </a:cubicBezTo>
                        <a:cubicBezTo>
                          <a:pt x="390151" y="27015"/>
                          <a:pt x="389132" y="31961"/>
                          <a:pt x="387096" y="36750"/>
                        </a:cubicBezTo>
                        <a:cubicBezTo>
                          <a:pt x="383949" y="44144"/>
                          <a:pt x="377289" y="50275"/>
                          <a:pt x="370126" y="52372"/>
                        </a:cubicBezTo>
                        <a:cubicBezTo>
                          <a:pt x="367525" y="53122"/>
                          <a:pt x="364940" y="53336"/>
                          <a:pt x="362482" y="52967"/>
                        </a:cubicBezTo>
                        <a:cubicBezTo>
                          <a:pt x="358415" y="67197"/>
                          <a:pt x="348716" y="79553"/>
                          <a:pt x="335688" y="86772"/>
                        </a:cubicBezTo>
                        <a:lnTo>
                          <a:pt x="333082" y="88215"/>
                        </a:lnTo>
                        <a:lnTo>
                          <a:pt x="330501" y="86744"/>
                        </a:lnTo>
                        <a:cubicBezTo>
                          <a:pt x="325463" y="83881"/>
                          <a:pt x="319619" y="82476"/>
                          <a:pt x="313917" y="82736"/>
                        </a:cubicBezTo>
                        <a:cubicBezTo>
                          <a:pt x="314509" y="85209"/>
                          <a:pt x="314596" y="87840"/>
                          <a:pt x="314151" y="90559"/>
                        </a:cubicBezTo>
                        <a:cubicBezTo>
                          <a:pt x="312301" y="101825"/>
                          <a:pt x="302163" y="111728"/>
                          <a:pt x="294045" y="116779"/>
                        </a:cubicBezTo>
                        <a:cubicBezTo>
                          <a:pt x="281496" y="124588"/>
                          <a:pt x="270354" y="132409"/>
                          <a:pt x="271780" y="142157"/>
                        </a:cubicBezTo>
                        <a:cubicBezTo>
                          <a:pt x="272129" y="144559"/>
                          <a:pt x="273313" y="147099"/>
                          <a:pt x="274563" y="149790"/>
                        </a:cubicBezTo>
                        <a:cubicBezTo>
                          <a:pt x="276527" y="154027"/>
                          <a:pt x="278763" y="158824"/>
                          <a:pt x="278283" y="164429"/>
                        </a:cubicBezTo>
                        <a:cubicBezTo>
                          <a:pt x="277240" y="176553"/>
                          <a:pt x="266244" y="181172"/>
                          <a:pt x="256546" y="185247"/>
                        </a:cubicBezTo>
                        <a:cubicBezTo>
                          <a:pt x="249129" y="188360"/>
                          <a:pt x="242122" y="191302"/>
                          <a:pt x="240068" y="196769"/>
                        </a:cubicBezTo>
                        <a:cubicBezTo>
                          <a:pt x="239379" y="198610"/>
                          <a:pt x="239236" y="200918"/>
                          <a:pt x="239084" y="203365"/>
                        </a:cubicBezTo>
                        <a:cubicBezTo>
                          <a:pt x="238964" y="205285"/>
                          <a:pt x="238833" y="207209"/>
                          <a:pt x="238500" y="209100"/>
                        </a:cubicBezTo>
                        <a:cubicBezTo>
                          <a:pt x="235895" y="223822"/>
                          <a:pt x="223660" y="231506"/>
                          <a:pt x="211825" y="238932"/>
                        </a:cubicBezTo>
                        <a:cubicBezTo>
                          <a:pt x="204434" y="243575"/>
                          <a:pt x="196790" y="248374"/>
                          <a:pt x="192131" y="254697"/>
                        </a:cubicBezTo>
                        <a:cubicBezTo>
                          <a:pt x="185206" y="264094"/>
                          <a:pt x="184761" y="276493"/>
                          <a:pt x="184284" y="289612"/>
                        </a:cubicBezTo>
                        <a:cubicBezTo>
                          <a:pt x="184024" y="296864"/>
                          <a:pt x="183753" y="304365"/>
                          <a:pt x="182349" y="311611"/>
                        </a:cubicBezTo>
                        <a:cubicBezTo>
                          <a:pt x="178471" y="331637"/>
                          <a:pt x="165468" y="349255"/>
                          <a:pt x="147719" y="359076"/>
                        </a:cubicBezTo>
                        <a:lnTo>
                          <a:pt x="174462" y="388607"/>
                        </a:lnTo>
                        <a:lnTo>
                          <a:pt x="174383" y="390758"/>
                        </a:lnTo>
                        <a:cubicBezTo>
                          <a:pt x="173813" y="406370"/>
                          <a:pt x="158062" y="416733"/>
                          <a:pt x="142797" y="418900"/>
                        </a:cubicBezTo>
                        <a:cubicBezTo>
                          <a:pt x="129493" y="420790"/>
                          <a:pt x="116459" y="418597"/>
                          <a:pt x="104972" y="421708"/>
                        </a:cubicBezTo>
                        <a:cubicBezTo>
                          <a:pt x="94481" y="424548"/>
                          <a:pt x="85788" y="431738"/>
                          <a:pt x="79845" y="442500"/>
                        </a:cubicBezTo>
                        <a:cubicBezTo>
                          <a:pt x="71180" y="458187"/>
                          <a:pt x="69231" y="480243"/>
                          <a:pt x="74876" y="498694"/>
                        </a:cubicBezTo>
                        <a:lnTo>
                          <a:pt x="77357" y="506790"/>
                        </a:lnTo>
                        <a:lnTo>
                          <a:pt x="68991" y="505471"/>
                        </a:lnTo>
                        <a:cubicBezTo>
                          <a:pt x="67547" y="505270"/>
                          <a:pt x="65339" y="505257"/>
                          <a:pt x="63186" y="507987"/>
                        </a:cubicBezTo>
                        <a:cubicBezTo>
                          <a:pt x="59549" y="512606"/>
                          <a:pt x="58639" y="521721"/>
                          <a:pt x="61199" y="527887"/>
                        </a:cubicBezTo>
                        <a:cubicBezTo>
                          <a:pt x="62649" y="531388"/>
                          <a:pt x="64544" y="534807"/>
                          <a:pt x="66429" y="538223"/>
                        </a:cubicBezTo>
                        <a:cubicBezTo>
                          <a:pt x="71366" y="547189"/>
                          <a:pt x="76468" y="556459"/>
                          <a:pt x="74957" y="567393"/>
                        </a:cubicBezTo>
                        <a:cubicBezTo>
                          <a:pt x="74393" y="571493"/>
                          <a:pt x="72941" y="575118"/>
                          <a:pt x="71536" y="578624"/>
                        </a:cubicBezTo>
                        <a:cubicBezTo>
                          <a:pt x="70211" y="581944"/>
                          <a:pt x="68951" y="585082"/>
                          <a:pt x="68699" y="588132"/>
                        </a:cubicBezTo>
                        <a:cubicBezTo>
                          <a:pt x="67908" y="597625"/>
                          <a:pt x="76198" y="606620"/>
                          <a:pt x="94039" y="615629"/>
                        </a:cubicBezTo>
                        <a:lnTo>
                          <a:pt x="99240" y="618259"/>
                        </a:lnTo>
                        <a:lnTo>
                          <a:pt x="96121" y="623190"/>
                        </a:lnTo>
                        <a:cubicBezTo>
                          <a:pt x="69535" y="665243"/>
                          <a:pt x="61876" y="718902"/>
                          <a:pt x="75626" y="766718"/>
                        </a:cubicBezTo>
                        <a:lnTo>
                          <a:pt x="76530" y="769829"/>
                        </a:lnTo>
                        <a:cubicBezTo>
                          <a:pt x="81493" y="786878"/>
                          <a:pt x="87677" y="808104"/>
                          <a:pt x="75028" y="823288"/>
                        </a:cubicBezTo>
                        <a:lnTo>
                          <a:pt x="69983" y="829342"/>
                        </a:lnTo>
                        <a:lnTo>
                          <a:pt x="66285" y="822388"/>
                        </a:lnTo>
                        <a:cubicBezTo>
                          <a:pt x="54803" y="800820"/>
                          <a:pt x="51513" y="775154"/>
                          <a:pt x="57087" y="751385"/>
                        </a:cubicBezTo>
                        <a:cubicBezTo>
                          <a:pt x="53170" y="749774"/>
                          <a:pt x="47591" y="751306"/>
                          <a:pt x="44117" y="754280"/>
                        </a:cubicBezTo>
                        <a:cubicBezTo>
                          <a:pt x="38731" y="758912"/>
                          <a:pt x="35832" y="766532"/>
                          <a:pt x="33270" y="773253"/>
                        </a:cubicBezTo>
                        <a:lnTo>
                          <a:pt x="3490" y="851426"/>
                        </a:lnTo>
                        <a:lnTo>
                          <a:pt x="0" y="850094"/>
                        </a:lnTo>
                        <a:cubicBezTo>
                          <a:pt x="380" y="851085"/>
                          <a:pt x="638" y="852115"/>
                          <a:pt x="1128" y="853070"/>
                        </a:cubicBezTo>
                        <a:cubicBezTo>
                          <a:pt x="4377" y="859415"/>
                          <a:pt x="9887" y="864250"/>
                          <a:pt x="14300" y="869847"/>
                        </a:cubicBezTo>
                        <a:cubicBezTo>
                          <a:pt x="47828" y="912367"/>
                          <a:pt x="10656" y="982888"/>
                          <a:pt x="43455" y="1025972"/>
                        </a:cubicBezTo>
                        <a:cubicBezTo>
                          <a:pt x="46610" y="1030116"/>
                          <a:pt x="50449" y="1034075"/>
                          <a:pt x="51544" y="1039165"/>
                        </a:cubicBezTo>
                        <a:cubicBezTo>
                          <a:pt x="53474" y="1048153"/>
                          <a:pt x="46329" y="1056200"/>
                          <a:pt x="42226" y="1064428"/>
                        </a:cubicBezTo>
                        <a:cubicBezTo>
                          <a:pt x="31961" y="1085009"/>
                          <a:pt x="40645" y="1109560"/>
                          <a:pt x="49384" y="1130835"/>
                        </a:cubicBezTo>
                        <a:cubicBezTo>
                          <a:pt x="54858" y="1144162"/>
                          <a:pt x="60891" y="1158211"/>
                          <a:pt x="72647" y="1166539"/>
                        </a:cubicBezTo>
                        <a:cubicBezTo>
                          <a:pt x="84406" y="1174868"/>
                          <a:pt x="103706" y="1174212"/>
                          <a:pt x="110525" y="1161520"/>
                        </a:cubicBezTo>
                        <a:cubicBezTo>
                          <a:pt x="117190" y="1149111"/>
                          <a:pt x="108868" y="1133308"/>
                          <a:pt x="113138" y="1119884"/>
                        </a:cubicBezTo>
                        <a:cubicBezTo>
                          <a:pt x="115470" y="1112556"/>
                          <a:pt x="121248" y="1106926"/>
                          <a:pt x="126819" y="1101623"/>
                        </a:cubicBezTo>
                        <a:cubicBezTo>
                          <a:pt x="139363" y="1089677"/>
                          <a:pt x="161387" y="1078279"/>
                          <a:pt x="171332" y="1092460"/>
                        </a:cubicBezTo>
                        <a:cubicBezTo>
                          <a:pt x="174276" y="1096659"/>
                          <a:pt x="175258" y="1102518"/>
                          <a:pt x="179647" y="1105174"/>
                        </a:cubicBezTo>
                        <a:cubicBezTo>
                          <a:pt x="187036" y="1109650"/>
                          <a:pt x="195437" y="1101232"/>
                          <a:pt x="199751" y="1093746"/>
                        </a:cubicBezTo>
                        <a:cubicBezTo>
                          <a:pt x="238894" y="1025800"/>
                          <a:pt x="255065" y="944886"/>
                          <a:pt x="245040" y="867114"/>
                        </a:cubicBezTo>
                        <a:cubicBezTo>
                          <a:pt x="252330" y="870897"/>
                          <a:pt x="259620" y="874681"/>
                          <a:pt x="266908" y="878466"/>
                        </a:cubicBezTo>
                        <a:cubicBezTo>
                          <a:pt x="271181" y="869033"/>
                          <a:pt x="275786" y="859181"/>
                          <a:pt x="284117" y="853037"/>
                        </a:cubicBezTo>
                        <a:cubicBezTo>
                          <a:pt x="292454" y="846892"/>
                          <a:pt x="305720" y="846121"/>
                          <a:pt x="312192" y="854202"/>
                        </a:cubicBezTo>
                        <a:cubicBezTo>
                          <a:pt x="321055" y="845100"/>
                          <a:pt x="323639" y="830450"/>
                          <a:pt x="318427" y="818864"/>
                        </a:cubicBezTo>
                        <a:cubicBezTo>
                          <a:pt x="330740" y="811676"/>
                          <a:pt x="343055" y="804485"/>
                          <a:pt x="355370" y="797297"/>
                        </a:cubicBezTo>
                        <a:cubicBezTo>
                          <a:pt x="348571" y="781193"/>
                          <a:pt x="344831" y="763805"/>
                          <a:pt x="344412" y="746330"/>
                        </a:cubicBezTo>
                        <a:cubicBezTo>
                          <a:pt x="299779" y="743231"/>
                          <a:pt x="277227" y="689188"/>
                          <a:pt x="278923" y="644479"/>
                        </a:cubicBezTo>
                        <a:cubicBezTo>
                          <a:pt x="280057" y="614624"/>
                          <a:pt x="287415" y="585017"/>
                          <a:pt x="300394" y="558106"/>
                        </a:cubicBezTo>
                        <a:cubicBezTo>
                          <a:pt x="288884" y="557721"/>
                          <a:pt x="277687" y="551751"/>
                          <a:pt x="270954" y="542407"/>
                        </a:cubicBezTo>
                        <a:cubicBezTo>
                          <a:pt x="315688" y="531644"/>
                          <a:pt x="356804" y="506365"/>
                          <a:pt x="386602" y="471308"/>
                        </a:cubicBezTo>
                        <a:cubicBezTo>
                          <a:pt x="398656" y="457126"/>
                          <a:pt x="412473" y="439707"/>
                          <a:pt x="431006" y="441461"/>
                        </a:cubicBezTo>
                        <a:cubicBezTo>
                          <a:pt x="446964" y="412692"/>
                          <a:pt x="454494" y="379312"/>
                          <a:pt x="452434" y="346478"/>
                        </a:cubicBezTo>
                        <a:cubicBezTo>
                          <a:pt x="450872" y="321601"/>
                          <a:pt x="444728" y="293754"/>
                          <a:pt x="459818" y="273915"/>
                        </a:cubicBezTo>
                        <a:cubicBezTo>
                          <a:pt x="479030" y="248654"/>
                          <a:pt x="517753" y="254383"/>
                          <a:pt x="548462" y="262863"/>
                        </a:cubicBezTo>
                        <a:cubicBezTo>
                          <a:pt x="545861" y="254007"/>
                          <a:pt x="546855" y="244165"/>
                          <a:pt x="547803" y="235261"/>
                        </a:cubicBezTo>
                        <a:cubicBezTo>
                          <a:pt x="549329" y="220994"/>
                          <a:pt x="549748" y="211977"/>
                          <a:pt x="542666" y="207025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35" name="Forma libre 234">
                    <a:extLst>
                      <a:ext uri="{FF2B5EF4-FFF2-40B4-BE49-F238E27FC236}">
                        <a16:creationId xmlns:a16="http://schemas.microsoft.com/office/drawing/2014/main" id="{BEF845B5-F802-294E-A104-57FBDA2BB1B3}"/>
                      </a:ext>
                    </a:extLst>
                  </p:cNvPr>
                  <p:cNvSpPr/>
                  <p:nvPr/>
                </p:nvSpPr>
                <p:spPr>
                  <a:xfrm>
                    <a:off x="5728720" y="2107076"/>
                    <a:ext cx="6880" cy="38871"/>
                  </a:xfrm>
                  <a:custGeom>
                    <a:avLst/>
                    <a:gdLst>
                      <a:gd name="connsiteX0" fmla="*/ 1341 w 6880"/>
                      <a:gd name="connsiteY0" fmla="*/ 4021 h 38871"/>
                      <a:gd name="connsiteX1" fmla="*/ 428 w 6880"/>
                      <a:gd name="connsiteY1" fmla="*/ 879 h 38871"/>
                      <a:gd name="connsiteX2" fmla="*/ 177 w 6880"/>
                      <a:gd name="connsiteY2" fmla="*/ 0 h 38871"/>
                      <a:gd name="connsiteX3" fmla="*/ 6147 w 6880"/>
                      <a:gd name="connsiteY3" fmla="*/ 38871 h 38871"/>
                      <a:gd name="connsiteX4" fmla="*/ 1341 w 6880"/>
                      <a:gd name="connsiteY4" fmla="*/ 4021 h 388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880" h="38871">
                        <a:moveTo>
                          <a:pt x="1341" y="4021"/>
                        </a:moveTo>
                        <a:lnTo>
                          <a:pt x="428" y="879"/>
                        </a:lnTo>
                        <a:cubicBezTo>
                          <a:pt x="341" y="584"/>
                          <a:pt x="257" y="290"/>
                          <a:pt x="177" y="0"/>
                        </a:cubicBezTo>
                        <a:cubicBezTo>
                          <a:pt x="-643" y="13183"/>
                          <a:pt x="1391" y="26537"/>
                          <a:pt x="6147" y="38871"/>
                        </a:cubicBezTo>
                        <a:cubicBezTo>
                          <a:pt x="8496" y="28594"/>
                          <a:pt x="4742" y="15714"/>
                          <a:pt x="1341" y="4021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sp>
              <p:nvSpPr>
                <p:cNvPr id="143" name="Forma libre 142">
                  <a:extLst>
                    <a:ext uri="{FF2B5EF4-FFF2-40B4-BE49-F238E27FC236}">
                      <a16:creationId xmlns:a16="http://schemas.microsoft.com/office/drawing/2014/main" id="{A46E2D70-CA36-4442-87E5-CAD9A20A0131}"/>
                    </a:ext>
                  </a:extLst>
                </p:cNvPr>
                <p:cNvSpPr/>
                <p:nvPr/>
              </p:nvSpPr>
              <p:spPr>
                <a:xfrm>
                  <a:off x="4414681" y="2276548"/>
                  <a:ext cx="333109" cy="281118"/>
                </a:xfrm>
                <a:custGeom>
                  <a:avLst/>
                  <a:gdLst>
                    <a:gd name="connsiteX0" fmla="*/ 110363 w 333109"/>
                    <a:gd name="connsiteY0" fmla="*/ 51617 h 281118"/>
                    <a:gd name="connsiteX1" fmla="*/ 68738 w 333109"/>
                    <a:gd name="connsiteY1" fmla="*/ 79536 h 281118"/>
                    <a:gd name="connsiteX2" fmla="*/ 102557 w 333109"/>
                    <a:gd name="connsiteY2" fmla="*/ 101859 h 281118"/>
                    <a:gd name="connsiteX3" fmla="*/ 99209 w 333109"/>
                    <a:gd name="connsiteY3" fmla="*/ 150547 h 281118"/>
                    <a:gd name="connsiteX4" fmla="*/ 52772 w 333109"/>
                    <a:gd name="connsiteY4" fmla="*/ 165564 h 281118"/>
                    <a:gd name="connsiteX5" fmla="*/ 68033 w 333109"/>
                    <a:gd name="connsiteY5" fmla="*/ 192126 h 281118"/>
                    <a:gd name="connsiteX6" fmla="*/ 5236 w 333109"/>
                    <a:gd name="connsiteY6" fmla="*/ 195414 h 281118"/>
                    <a:gd name="connsiteX7" fmla="*/ 1491 w 333109"/>
                    <a:gd name="connsiteY7" fmla="*/ 224625 h 281118"/>
                    <a:gd name="connsiteX8" fmla="*/ 17147 w 333109"/>
                    <a:gd name="connsiteY8" fmla="*/ 255016 h 281118"/>
                    <a:gd name="connsiteX9" fmla="*/ 57103 w 333109"/>
                    <a:gd name="connsiteY9" fmla="*/ 262793 h 281118"/>
                    <a:gd name="connsiteX10" fmla="*/ 67588 w 333109"/>
                    <a:gd name="connsiteY10" fmla="*/ 273676 h 281118"/>
                    <a:gd name="connsiteX11" fmla="*/ 128329 w 333109"/>
                    <a:gd name="connsiteY11" fmla="*/ 265237 h 281118"/>
                    <a:gd name="connsiteX12" fmla="*/ 188688 w 333109"/>
                    <a:gd name="connsiteY12" fmla="*/ 244924 h 281118"/>
                    <a:gd name="connsiteX13" fmla="*/ 237849 w 333109"/>
                    <a:gd name="connsiteY13" fmla="*/ 252819 h 281118"/>
                    <a:gd name="connsiteX14" fmla="*/ 261724 w 333109"/>
                    <a:gd name="connsiteY14" fmla="*/ 227436 h 281118"/>
                    <a:gd name="connsiteX15" fmla="*/ 275154 w 333109"/>
                    <a:gd name="connsiteY15" fmla="*/ 198253 h 281118"/>
                    <a:gd name="connsiteX16" fmla="*/ 270998 w 333109"/>
                    <a:gd name="connsiteY16" fmla="*/ 160298 h 281118"/>
                    <a:gd name="connsiteX17" fmla="*/ 276394 w 333109"/>
                    <a:gd name="connsiteY17" fmla="*/ 143795 h 281118"/>
                    <a:gd name="connsiteX18" fmla="*/ 306005 w 333109"/>
                    <a:gd name="connsiteY18" fmla="*/ 100210 h 281118"/>
                    <a:gd name="connsiteX19" fmla="*/ 320335 w 333109"/>
                    <a:gd name="connsiteY19" fmla="*/ 84124 h 281118"/>
                    <a:gd name="connsiteX20" fmla="*/ 315750 w 333109"/>
                    <a:gd name="connsiteY20" fmla="*/ 65368 h 281118"/>
                    <a:gd name="connsiteX21" fmla="*/ 329959 w 333109"/>
                    <a:gd name="connsiteY21" fmla="*/ 53244 h 281118"/>
                    <a:gd name="connsiteX22" fmla="*/ 320940 w 333109"/>
                    <a:gd name="connsiteY22" fmla="*/ 27319 h 281118"/>
                    <a:gd name="connsiteX23" fmla="*/ 289155 w 333109"/>
                    <a:gd name="connsiteY23" fmla="*/ 24505 h 281118"/>
                    <a:gd name="connsiteX24" fmla="*/ 254813 w 333109"/>
                    <a:gd name="connsiteY24" fmla="*/ 17126 h 281118"/>
                    <a:gd name="connsiteX25" fmla="*/ 276221 w 333109"/>
                    <a:gd name="connsiteY25" fmla="*/ 2606 h 281118"/>
                    <a:gd name="connsiteX26" fmla="*/ 212524 w 333109"/>
                    <a:gd name="connsiteY26" fmla="*/ 1865 h 281118"/>
                    <a:gd name="connsiteX27" fmla="*/ 187571 w 333109"/>
                    <a:gd name="connsiteY27" fmla="*/ 11297 h 281118"/>
                    <a:gd name="connsiteX28" fmla="*/ 186480 w 333109"/>
                    <a:gd name="connsiteY28" fmla="*/ 35287 h 281118"/>
                    <a:gd name="connsiteX29" fmla="*/ 180845 w 333109"/>
                    <a:gd name="connsiteY29" fmla="*/ 68383 h 281118"/>
                    <a:gd name="connsiteX30" fmla="*/ 149753 w 333109"/>
                    <a:gd name="connsiteY30" fmla="*/ 45824 h 281118"/>
                    <a:gd name="connsiteX31" fmla="*/ 110363 w 333109"/>
                    <a:gd name="connsiteY31" fmla="*/ 51617 h 2811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333109" h="281118">
                      <a:moveTo>
                        <a:pt x="110363" y="51617"/>
                      </a:moveTo>
                      <a:cubicBezTo>
                        <a:pt x="107999" y="69409"/>
                        <a:pt x="86411" y="76398"/>
                        <a:pt x="68738" y="79536"/>
                      </a:cubicBezTo>
                      <a:cubicBezTo>
                        <a:pt x="72400" y="93890"/>
                        <a:pt x="87918" y="104132"/>
                        <a:pt x="102557" y="101859"/>
                      </a:cubicBezTo>
                      <a:cubicBezTo>
                        <a:pt x="111227" y="116793"/>
                        <a:pt x="109840" y="136942"/>
                        <a:pt x="99209" y="150547"/>
                      </a:cubicBezTo>
                      <a:cubicBezTo>
                        <a:pt x="88575" y="164153"/>
                        <a:pt x="69360" y="170368"/>
                        <a:pt x="52772" y="165564"/>
                      </a:cubicBezTo>
                      <a:cubicBezTo>
                        <a:pt x="50362" y="176502"/>
                        <a:pt x="57368" y="188700"/>
                        <a:pt x="68033" y="192126"/>
                      </a:cubicBezTo>
                      <a:cubicBezTo>
                        <a:pt x="49104" y="203047"/>
                        <a:pt x="20152" y="179442"/>
                        <a:pt x="5236" y="195414"/>
                      </a:cubicBezTo>
                      <a:cubicBezTo>
                        <a:pt x="-1731" y="202873"/>
                        <a:pt x="-346" y="214585"/>
                        <a:pt x="1491" y="224625"/>
                      </a:cubicBezTo>
                      <a:cubicBezTo>
                        <a:pt x="3614" y="236239"/>
                        <a:pt x="6781" y="249363"/>
                        <a:pt x="17147" y="255016"/>
                      </a:cubicBezTo>
                      <a:cubicBezTo>
                        <a:pt x="29227" y="261606"/>
                        <a:pt x="45888" y="254822"/>
                        <a:pt x="57103" y="262793"/>
                      </a:cubicBezTo>
                      <a:cubicBezTo>
                        <a:pt x="61219" y="265717"/>
                        <a:pt x="63901" y="270228"/>
                        <a:pt x="67588" y="273676"/>
                      </a:cubicBezTo>
                      <a:cubicBezTo>
                        <a:pt x="83818" y="288855"/>
                        <a:pt x="110249" y="278157"/>
                        <a:pt x="128329" y="265237"/>
                      </a:cubicBezTo>
                      <a:cubicBezTo>
                        <a:pt x="146609" y="252169"/>
                        <a:pt x="165393" y="238694"/>
                        <a:pt x="188688" y="244924"/>
                      </a:cubicBezTo>
                      <a:cubicBezTo>
                        <a:pt x="205979" y="249550"/>
                        <a:pt x="218747" y="263620"/>
                        <a:pt x="237849" y="252819"/>
                      </a:cubicBezTo>
                      <a:cubicBezTo>
                        <a:pt x="248052" y="247049"/>
                        <a:pt x="255060" y="237080"/>
                        <a:pt x="261724" y="227436"/>
                      </a:cubicBezTo>
                      <a:cubicBezTo>
                        <a:pt x="267882" y="218517"/>
                        <a:pt x="274246" y="209055"/>
                        <a:pt x="275154" y="198253"/>
                      </a:cubicBezTo>
                      <a:cubicBezTo>
                        <a:pt x="276224" y="185513"/>
                        <a:pt x="269477" y="172992"/>
                        <a:pt x="270998" y="160298"/>
                      </a:cubicBezTo>
                      <a:cubicBezTo>
                        <a:pt x="271689" y="154528"/>
                        <a:pt x="274055" y="149113"/>
                        <a:pt x="276394" y="143795"/>
                      </a:cubicBezTo>
                      <a:cubicBezTo>
                        <a:pt x="283560" y="127499"/>
                        <a:pt x="291391" y="110375"/>
                        <a:pt x="306005" y="100210"/>
                      </a:cubicBezTo>
                      <a:cubicBezTo>
                        <a:pt x="312160" y="95929"/>
                        <a:pt x="320224" y="91621"/>
                        <a:pt x="320335" y="84124"/>
                      </a:cubicBezTo>
                      <a:cubicBezTo>
                        <a:pt x="320432" y="77571"/>
                        <a:pt x="313907" y="71657"/>
                        <a:pt x="315750" y="65368"/>
                      </a:cubicBezTo>
                      <a:cubicBezTo>
                        <a:pt x="317539" y="59267"/>
                        <a:pt x="325598" y="57870"/>
                        <a:pt x="329959" y="53244"/>
                      </a:cubicBezTo>
                      <a:cubicBezTo>
                        <a:pt x="337315" y="45442"/>
                        <a:pt x="330755" y="31637"/>
                        <a:pt x="320940" y="27319"/>
                      </a:cubicBezTo>
                      <a:cubicBezTo>
                        <a:pt x="311124" y="23002"/>
                        <a:pt x="299879" y="24668"/>
                        <a:pt x="289155" y="24505"/>
                      </a:cubicBezTo>
                      <a:cubicBezTo>
                        <a:pt x="277373" y="24327"/>
                        <a:pt x="265629" y="21803"/>
                        <a:pt x="254813" y="17126"/>
                      </a:cubicBezTo>
                      <a:cubicBezTo>
                        <a:pt x="263583" y="15654"/>
                        <a:pt x="271610" y="10210"/>
                        <a:pt x="276221" y="2606"/>
                      </a:cubicBezTo>
                      <a:cubicBezTo>
                        <a:pt x="255162" y="-599"/>
                        <a:pt x="233655" y="-850"/>
                        <a:pt x="212524" y="1865"/>
                      </a:cubicBezTo>
                      <a:cubicBezTo>
                        <a:pt x="203544" y="3021"/>
                        <a:pt x="194067" y="4988"/>
                        <a:pt x="187571" y="11297"/>
                      </a:cubicBezTo>
                      <a:cubicBezTo>
                        <a:pt x="181078" y="17604"/>
                        <a:pt x="179429" y="29609"/>
                        <a:pt x="186480" y="35287"/>
                      </a:cubicBezTo>
                      <a:cubicBezTo>
                        <a:pt x="198046" y="44604"/>
                        <a:pt x="202036" y="62677"/>
                        <a:pt x="180845" y="68383"/>
                      </a:cubicBezTo>
                      <a:cubicBezTo>
                        <a:pt x="165489" y="72516"/>
                        <a:pt x="158484" y="55742"/>
                        <a:pt x="149753" y="45824"/>
                      </a:cubicBezTo>
                      <a:cubicBezTo>
                        <a:pt x="132173" y="25844"/>
                        <a:pt x="114858" y="17792"/>
                        <a:pt x="110363" y="51617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4" name="Forma libre 143">
                  <a:extLst>
                    <a:ext uri="{FF2B5EF4-FFF2-40B4-BE49-F238E27FC236}">
                      <a16:creationId xmlns:a16="http://schemas.microsoft.com/office/drawing/2014/main" id="{02C3F747-EDF5-AF45-9FCD-1910EEEE8A19}"/>
                    </a:ext>
                  </a:extLst>
                </p:cNvPr>
                <p:cNvSpPr/>
                <p:nvPr/>
              </p:nvSpPr>
              <p:spPr>
                <a:xfrm>
                  <a:off x="4424388" y="1130481"/>
                  <a:ext cx="392190" cy="323982"/>
                </a:xfrm>
                <a:custGeom>
                  <a:avLst/>
                  <a:gdLst>
                    <a:gd name="connsiteX0" fmla="*/ 188107 w 392190"/>
                    <a:gd name="connsiteY0" fmla="*/ 47790 h 323982"/>
                    <a:gd name="connsiteX1" fmla="*/ 179906 w 392190"/>
                    <a:gd name="connsiteY1" fmla="*/ 1126 h 323982"/>
                    <a:gd name="connsiteX2" fmla="*/ 168867 w 392190"/>
                    <a:gd name="connsiteY2" fmla="*/ 55515 h 323982"/>
                    <a:gd name="connsiteX3" fmla="*/ 137122 w 392190"/>
                    <a:gd name="connsiteY3" fmla="*/ 0 h 323982"/>
                    <a:gd name="connsiteX4" fmla="*/ 135249 w 392190"/>
                    <a:gd name="connsiteY4" fmla="*/ 34483 h 323982"/>
                    <a:gd name="connsiteX5" fmla="*/ 109454 w 392190"/>
                    <a:gd name="connsiteY5" fmla="*/ 18762 h 323982"/>
                    <a:gd name="connsiteX6" fmla="*/ 84838 w 392190"/>
                    <a:gd name="connsiteY6" fmla="*/ 31324 h 323982"/>
                    <a:gd name="connsiteX7" fmla="*/ 117992 w 392190"/>
                    <a:gd name="connsiteY7" fmla="*/ 47495 h 323982"/>
                    <a:gd name="connsiteX8" fmla="*/ 102108 w 392190"/>
                    <a:gd name="connsiteY8" fmla="*/ 70852 h 323982"/>
                    <a:gd name="connsiteX9" fmla="*/ 147581 w 392190"/>
                    <a:gd name="connsiteY9" fmla="*/ 91317 h 323982"/>
                    <a:gd name="connsiteX10" fmla="*/ 107278 w 392190"/>
                    <a:gd name="connsiteY10" fmla="*/ 109908 h 323982"/>
                    <a:gd name="connsiteX11" fmla="*/ 61239 w 392190"/>
                    <a:gd name="connsiteY11" fmla="*/ 80977 h 323982"/>
                    <a:gd name="connsiteX12" fmla="*/ 46069 w 392190"/>
                    <a:gd name="connsiteY12" fmla="*/ 86795 h 323982"/>
                    <a:gd name="connsiteX13" fmla="*/ 48044 w 392190"/>
                    <a:gd name="connsiteY13" fmla="*/ 92824 h 323982"/>
                    <a:gd name="connsiteX14" fmla="*/ 81117 w 392190"/>
                    <a:gd name="connsiteY14" fmla="*/ 122849 h 323982"/>
                    <a:gd name="connsiteX15" fmla="*/ 89967 w 392190"/>
                    <a:gd name="connsiteY15" fmla="*/ 162553 h 323982"/>
                    <a:gd name="connsiteX16" fmla="*/ 75576 w 392190"/>
                    <a:gd name="connsiteY16" fmla="*/ 171854 h 323982"/>
                    <a:gd name="connsiteX17" fmla="*/ 0 w 392190"/>
                    <a:gd name="connsiteY17" fmla="*/ 205621 h 323982"/>
                    <a:gd name="connsiteX18" fmla="*/ 67040 w 392190"/>
                    <a:gd name="connsiteY18" fmla="*/ 209245 h 323982"/>
                    <a:gd name="connsiteX19" fmla="*/ 83837 w 392190"/>
                    <a:gd name="connsiteY19" fmla="*/ 213274 h 323982"/>
                    <a:gd name="connsiteX20" fmla="*/ 94359 w 392190"/>
                    <a:gd name="connsiteY20" fmla="*/ 238355 h 323982"/>
                    <a:gd name="connsiteX21" fmla="*/ 138039 w 392190"/>
                    <a:gd name="connsiteY21" fmla="*/ 304926 h 323982"/>
                    <a:gd name="connsiteX22" fmla="*/ 168873 w 392190"/>
                    <a:gd name="connsiteY22" fmla="*/ 307778 h 323982"/>
                    <a:gd name="connsiteX23" fmla="*/ 193155 w 392190"/>
                    <a:gd name="connsiteY23" fmla="*/ 321991 h 323982"/>
                    <a:gd name="connsiteX24" fmla="*/ 235155 w 392190"/>
                    <a:gd name="connsiteY24" fmla="*/ 311994 h 323982"/>
                    <a:gd name="connsiteX25" fmla="*/ 271386 w 392190"/>
                    <a:gd name="connsiteY25" fmla="*/ 285354 h 323982"/>
                    <a:gd name="connsiteX26" fmla="*/ 371136 w 392190"/>
                    <a:gd name="connsiteY26" fmla="*/ 259077 h 323982"/>
                    <a:gd name="connsiteX27" fmla="*/ 392190 w 392190"/>
                    <a:gd name="connsiteY27" fmla="*/ 136881 h 323982"/>
                    <a:gd name="connsiteX28" fmla="*/ 312600 w 392190"/>
                    <a:gd name="connsiteY28" fmla="*/ 137826 h 323982"/>
                    <a:gd name="connsiteX29" fmla="*/ 287359 w 392190"/>
                    <a:gd name="connsiteY29" fmla="*/ 120206 h 323982"/>
                    <a:gd name="connsiteX30" fmla="*/ 191374 w 392190"/>
                    <a:gd name="connsiteY30" fmla="*/ 119992 h 323982"/>
                    <a:gd name="connsiteX31" fmla="*/ 188107 w 392190"/>
                    <a:gd name="connsiteY31" fmla="*/ 47790 h 3239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392190" h="323982">
                      <a:moveTo>
                        <a:pt x="188107" y="47790"/>
                      </a:moveTo>
                      <a:cubicBezTo>
                        <a:pt x="194255" y="31512"/>
                        <a:pt x="195573" y="8698"/>
                        <a:pt x="179906" y="1126"/>
                      </a:cubicBezTo>
                      <a:cubicBezTo>
                        <a:pt x="176227" y="19255"/>
                        <a:pt x="172546" y="37386"/>
                        <a:pt x="168867" y="55515"/>
                      </a:cubicBezTo>
                      <a:cubicBezTo>
                        <a:pt x="155100" y="39092"/>
                        <a:pt x="144295" y="20195"/>
                        <a:pt x="137122" y="0"/>
                      </a:cubicBezTo>
                      <a:cubicBezTo>
                        <a:pt x="136499" y="11494"/>
                        <a:pt x="135874" y="22988"/>
                        <a:pt x="135249" y="34483"/>
                      </a:cubicBezTo>
                      <a:cubicBezTo>
                        <a:pt x="127572" y="27785"/>
                        <a:pt x="119425" y="20848"/>
                        <a:pt x="109454" y="18762"/>
                      </a:cubicBezTo>
                      <a:cubicBezTo>
                        <a:pt x="99482" y="16677"/>
                        <a:pt x="87295" y="21438"/>
                        <a:pt x="84838" y="31324"/>
                      </a:cubicBezTo>
                      <a:cubicBezTo>
                        <a:pt x="97376" y="33438"/>
                        <a:pt x="111479" y="36575"/>
                        <a:pt x="117992" y="47495"/>
                      </a:cubicBezTo>
                      <a:cubicBezTo>
                        <a:pt x="124508" y="58415"/>
                        <a:pt x="113332" y="76824"/>
                        <a:pt x="102108" y="70852"/>
                      </a:cubicBezTo>
                      <a:cubicBezTo>
                        <a:pt x="115137" y="81477"/>
                        <a:pt x="130988" y="88610"/>
                        <a:pt x="147581" y="91317"/>
                      </a:cubicBezTo>
                      <a:cubicBezTo>
                        <a:pt x="150428" y="109303"/>
                        <a:pt x="123734" y="117704"/>
                        <a:pt x="107278" y="109908"/>
                      </a:cubicBezTo>
                      <a:cubicBezTo>
                        <a:pt x="90822" y="102112"/>
                        <a:pt x="78672" y="86234"/>
                        <a:pt x="61239" y="80977"/>
                      </a:cubicBezTo>
                      <a:cubicBezTo>
                        <a:pt x="55261" y="79175"/>
                        <a:pt x="46516" y="80568"/>
                        <a:pt x="46069" y="86795"/>
                      </a:cubicBezTo>
                      <a:cubicBezTo>
                        <a:pt x="45914" y="88940"/>
                        <a:pt x="46916" y="90992"/>
                        <a:pt x="48044" y="92824"/>
                      </a:cubicBezTo>
                      <a:cubicBezTo>
                        <a:pt x="55884" y="105574"/>
                        <a:pt x="70179" y="112633"/>
                        <a:pt x="81117" y="122849"/>
                      </a:cubicBezTo>
                      <a:cubicBezTo>
                        <a:pt x="92054" y="133065"/>
                        <a:pt x="99482" y="151000"/>
                        <a:pt x="89967" y="162553"/>
                      </a:cubicBezTo>
                      <a:cubicBezTo>
                        <a:pt x="86301" y="167004"/>
                        <a:pt x="80841" y="169501"/>
                        <a:pt x="75576" y="171854"/>
                      </a:cubicBezTo>
                      <a:cubicBezTo>
                        <a:pt x="50383" y="183110"/>
                        <a:pt x="25193" y="194367"/>
                        <a:pt x="0" y="205621"/>
                      </a:cubicBezTo>
                      <a:cubicBezTo>
                        <a:pt x="22346" y="206830"/>
                        <a:pt x="44694" y="208036"/>
                        <a:pt x="67040" y="209245"/>
                      </a:cubicBezTo>
                      <a:cubicBezTo>
                        <a:pt x="72866" y="209560"/>
                        <a:pt x="79020" y="209982"/>
                        <a:pt x="83837" y="213274"/>
                      </a:cubicBezTo>
                      <a:cubicBezTo>
                        <a:pt x="91566" y="218556"/>
                        <a:pt x="93145" y="229074"/>
                        <a:pt x="94359" y="238355"/>
                      </a:cubicBezTo>
                      <a:cubicBezTo>
                        <a:pt x="98053" y="266588"/>
                        <a:pt x="110017" y="299883"/>
                        <a:pt x="138039" y="304926"/>
                      </a:cubicBezTo>
                      <a:cubicBezTo>
                        <a:pt x="148238" y="306760"/>
                        <a:pt x="159112" y="304297"/>
                        <a:pt x="168873" y="307778"/>
                      </a:cubicBezTo>
                      <a:cubicBezTo>
                        <a:pt x="177733" y="310938"/>
                        <a:pt x="184390" y="318577"/>
                        <a:pt x="193155" y="321991"/>
                      </a:cubicBezTo>
                      <a:cubicBezTo>
                        <a:pt x="207161" y="327445"/>
                        <a:pt x="223045" y="320898"/>
                        <a:pt x="235155" y="311994"/>
                      </a:cubicBezTo>
                      <a:cubicBezTo>
                        <a:pt x="247266" y="303091"/>
                        <a:pt x="257739" y="291658"/>
                        <a:pt x="271386" y="285354"/>
                      </a:cubicBezTo>
                      <a:cubicBezTo>
                        <a:pt x="303294" y="270612"/>
                        <a:pt x="348019" y="285558"/>
                        <a:pt x="371136" y="259077"/>
                      </a:cubicBezTo>
                      <a:cubicBezTo>
                        <a:pt x="399162" y="226970"/>
                        <a:pt x="363708" y="168586"/>
                        <a:pt x="392190" y="136881"/>
                      </a:cubicBezTo>
                      <a:cubicBezTo>
                        <a:pt x="372139" y="117984"/>
                        <a:pt x="338754" y="146493"/>
                        <a:pt x="312600" y="137826"/>
                      </a:cubicBezTo>
                      <a:cubicBezTo>
                        <a:pt x="302804" y="134582"/>
                        <a:pt x="295553" y="126504"/>
                        <a:pt x="287359" y="120206"/>
                      </a:cubicBezTo>
                      <a:cubicBezTo>
                        <a:pt x="259398" y="98727"/>
                        <a:pt x="219688" y="100290"/>
                        <a:pt x="191374" y="119992"/>
                      </a:cubicBezTo>
                      <a:cubicBezTo>
                        <a:pt x="168342" y="100361"/>
                        <a:pt x="178969" y="71992"/>
                        <a:pt x="188107" y="4779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5" name="Forma libre 144">
                  <a:extLst>
                    <a:ext uri="{FF2B5EF4-FFF2-40B4-BE49-F238E27FC236}">
                      <a16:creationId xmlns:a16="http://schemas.microsoft.com/office/drawing/2014/main" id="{1D233472-AB16-254A-9E6B-AAA2D85DC831}"/>
                    </a:ext>
                  </a:extLst>
                </p:cNvPr>
                <p:cNvSpPr/>
                <p:nvPr/>
              </p:nvSpPr>
              <p:spPr>
                <a:xfrm>
                  <a:off x="5305805" y="3553525"/>
                  <a:ext cx="67162" cy="115190"/>
                </a:xfrm>
                <a:custGeom>
                  <a:avLst/>
                  <a:gdLst>
                    <a:gd name="connsiteX0" fmla="*/ 1982 w 67162"/>
                    <a:gd name="connsiteY0" fmla="*/ 82078 h 115190"/>
                    <a:gd name="connsiteX1" fmla="*/ 7501 w 67162"/>
                    <a:gd name="connsiteY1" fmla="*/ 94068 h 115190"/>
                    <a:gd name="connsiteX2" fmla="*/ 17146 w 67162"/>
                    <a:gd name="connsiteY2" fmla="*/ 103321 h 115190"/>
                    <a:gd name="connsiteX3" fmla="*/ 18252 w 67162"/>
                    <a:gd name="connsiteY3" fmla="*/ 112860 h 115190"/>
                    <a:gd name="connsiteX4" fmla="*/ 32921 w 67162"/>
                    <a:gd name="connsiteY4" fmla="*/ 107082 h 115190"/>
                    <a:gd name="connsiteX5" fmla="*/ 38598 w 67162"/>
                    <a:gd name="connsiteY5" fmla="*/ 80712 h 115190"/>
                    <a:gd name="connsiteX6" fmla="*/ 40737 w 67162"/>
                    <a:gd name="connsiteY6" fmla="*/ 61790 h 115190"/>
                    <a:gd name="connsiteX7" fmla="*/ 57892 w 67162"/>
                    <a:gd name="connsiteY7" fmla="*/ 49272 h 115190"/>
                    <a:gd name="connsiteX8" fmla="*/ 33387 w 67162"/>
                    <a:gd name="connsiteY8" fmla="*/ 610 h 115190"/>
                    <a:gd name="connsiteX9" fmla="*/ 1982 w 67162"/>
                    <a:gd name="connsiteY9" fmla="*/ 82078 h 115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7162" h="115190">
                      <a:moveTo>
                        <a:pt x="1982" y="82078"/>
                      </a:moveTo>
                      <a:cubicBezTo>
                        <a:pt x="2958" y="86435"/>
                        <a:pt x="4299" y="90957"/>
                        <a:pt x="7501" y="94068"/>
                      </a:cubicBezTo>
                      <a:cubicBezTo>
                        <a:pt x="10754" y="97230"/>
                        <a:pt x="15880" y="98966"/>
                        <a:pt x="17146" y="103321"/>
                      </a:cubicBezTo>
                      <a:cubicBezTo>
                        <a:pt x="18051" y="106429"/>
                        <a:pt x="16615" y="110069"/>
                        <a:pt x="18252" y="112860"/>
                      </a:cubicBezTo>
                      <a:cubicBezTo>
                        <a:pt x="21538" y="118460"/>
                        <a:pt x="30125" y="112942"/>
                        <a:pt x="32921" y="107082"/>
                      </a:cubicBezTo>
                      <a:cubicBezTo>
                        <a:pt x="36826" y="98892"/>
                        <a:pt x="38789" y="89782"/>
                        <a:pt x="38598" y="80712"/>
                      </a:cubicBezTo>
                      <a:cubicBezTo>
                        <a:pt x="38461" y="74266"/>
                        <a:pt x="37377" y="67294"/>
                        <a:pt x="40737" y="61790"/>
                      </a:cubicBezTo>
                      <a:cubicBezTo>
                        <a:pt x="44461" y="55686"/>
                        <a:pt x="52248" y="53663"/>
                        <a:pt x="57892" y="49272"/>
                      </a:cubicBezTo>
                      <a:cubicBezTo>
                        <a:pt x="80020" y="32048"/>
                        <a:pt x="58798" y="-5205"/>
                        <a:pt x="33387" y="610"/>
                      </a:cubicBezTo>
                      <a:cubicBezTo>
                        <a:pt x="1385" y="7939"/>
                        <a:pt x="-3616" y="57053"/>
                        <a:pt x="1982" y="8207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6" name="Forma libre 145">
                  <a:extLst>
                    <a:ext uri="{FF2B5EF4-FFF2-40B4-BE49-F238E27FC236}">
                      <a16:creationId xmlns:a16="http://schemas.microsoft.com/office/drawing/2014/main" id="{62222415-3B58-A544-B08C-1BE104FCE579}"/>
                    </a:ext>
                  </a:extLst>
                </p:cNvPr>
                <p:cNvSpPr/>
                <p:nvPr/>
              </p:nvSpPr>
              <p:spPr>
                <a:xfrm>
                  <a:off x="5250388" y="3692837"/>
                  <a:ext cx="116656" cy="179627"/>
                </a:xfrm>
                <a:custGeom>
                  <a:avLst/>
                  <a:gdLst>
                    <a:gd name="connsiteX0" fmla="*/ 20825 w 116656"/>
                    <a:gd name="connsiteY0" fmla="*/ 77610 h 179627"/>
                    <a:gd name="connsiteX1" fmla="*/ 30193 w 116656"/>
                    <a:gd name="connsiteY1" fmla="*/ 93829 h 179627"/>
                    <a:gd name="connsiteX2" fmla="*/ 19648 w 116656"/>
                    <a:gd name="connsiteY2" fmla="*/ 102266 h 179627"/>
                    <a:gd name="connsiteX3" fmla="*/ 17298 w 116656"/>
                    <a:gd name="connsiteY3" fmla="*/ 109038 h 179627"/>
                    <a:gd name="connsiteX4" fmla="*/ 7248 w 116656"/>
                    <a:gd name="connsiteY4" fmla="*/ 162666 h 179627"/>
                    <a:gd name="connsiteX5" fmla="*/ 7378 w 116656"/>
                    <a:gd name="connsiteY5" fmla="*/ 168528 h 179627"/>
                    <a:gd name="connsiteX6" fmla="*/ 16188 w 116656"/>
                    <a:gd name="connsiteY6" fmla="*/ 172453 h 179627"/>
                    <a:gd name="connsiteX7" fmla="*/ 39515 w 116656"/>
                    <a:gd name="connsiteY7" fmla="*/ 164850 h 179627"/>
                    <a:gd name="connsiteX8" fmla="*/ 46083 w 116656"/>
                    <a:gd name="connsiteY8" fmla="*/ 153383 h 179627"/>
                    <a:gd name="connsiteX9" fmla="*/ 50933 w 116656"/>
                    <a:gd name="connsiteY9" fmla="*/ 153480 h 179627"/>
                    <a:gd name="connsiteX10" fmla="*/ 72280 w 116656"/>
                    <a:gd name="connsiteY10" fmla="*/ 179628 h 179627"/>
                    <a:gd name="connsiteX11" fmla="*/ 89671 w 116656"/>
                    <a:gd name="connsiteY11" fmla="*/ 142700 h 179627"/>
                    <a:gd name="connsiteX12" fmla="*/ 86375 w 116656"/>
                    <a:gd name="connsiteY12" fmla="*/ 126727 h 179627"/>
                    <a:gd name="connsiteX13" fmla="*/ 88142 w 116656"/>
                    <a:gd name="connsiteY13" fmla="*/ 101148 h 179627"/>
                    <a:gd name="connsiteX14" fmla="*/ 95810 w 116656"/>
                    <a:gd name="connsiteY14" fmla="*/ 60050 h 179627"/>
                    <a:gd name="connsiteX15" fmla="*/ 115894 w 116656"/>
                    <a:gd name="connsiteY15" fmla="*/ 28231 h 179627"/>
                    <a:gd name="connsiteX16" fmla="*/ 90653 w 116656"/>
                    <a:gd name="connsiteY16" fmla="*/ 37 h 179627"/>
                    <a:gd name="connsiteX17" fmla="*/ 30118 w 116656"/>
                    <a:gd name="connsiteY17" fmla="*/ 15909 h 179627"/>
                    <a:gd name="connsiteX18" fmla="*/ 420 w 116656"/>
                    <a:gd name="connsiteY18" fmla="*/ 72870 h 179627"/>
                    <a:gd name="connsiteX19" fmla="*/ 20825 w 116656"/>
                    <a:gd name="connsiteY19" fmla="*/ 77610 h 179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16656" h="179627">
                      <a:moveTo>
                        <a:pt x="20825" y="77610"/>
                      </a:moveTo>
                      <a:cubicBezTo>
                        <a:pt x="27769" y="79717"/>
                        <a:pt x="34179" y="87762"/>
                        <a:pt x="30193" y="93829"/>
                      </a:cubicBezTo>
                      <a:cubicBezTo>
                        <a:pt x="27700" y="97624"/>
                        <a:pt x="22331" y="98603"/>
                        <a:pt x="19648" y="102266"/>
                      </a:cubicBezTo>
                      <a:cubicBezTo>
                        <a:pt x="18224" y="104211"/>
                        <a:pt x="17743" y="106669"/>
                        <a:pt x="17298" y="109038"/>
                      </a:cubicBezTo>
                      <a:cubicBezTo>
                        <a:pt x="13948" y="126915"/>
                        <a:pt x="10599" y="144792"/>
                        <a:pt x="7248" y="162666"/>
                      </a:cubicBezTo>
                      <a:cubicBezTo>
                        <a:pt x="6880" y="164621"/>
                        <a:pt x="6531" y="166728"/>
                        <a:pt x="7378" y="168528"/>
                      </a:cubicBezTo>
                      <a:cubicBezTo>
                        <a:pt x="8817" y="171586"/>
                        <a:pt x="12814" y="172221"/>
                        <a:pt x="16188" y="172453"/>
                      </a:cubicBezTo>
                      <a:cubicBezTo>
                        <a:pt x="24859" y="173047"/>
                        <a:pt x="35542" y="172579"/>
                        <a:pt x="39515" y="164850"/>
                      </a:cubicBezTo>
                      <a:cubicBezTo>
                        <a:pt x="41602" y="160793"/>
                        <a:pt x="41782" y="154896"/>
                        <a:pt x="46083" y="153383"/>
                      </a:cubicBezTo>
                      <a:cubicBezTo>
                        <a:pt x="47629" y="152839"/>
                        <a:pt x="49342" y="153086"/>
                        <a:pt x="50933" y="153480"/>
                      </a:cubicBezTo>
                      <a:cubicBezTo>
                        <a:pt x="62651" y="156372"/>
                        <a:pt x="71792" y="167570"/>
                        <a:pt x="72280" y="179628"/>
                      </a:cubicBezTo>
                      <a:cubicBezTo>
                        <a:pt x="81237" y="168904"/>
                        <a:pt x="90724" y="156632"/>
                        <a:pt x="89671" y="142700"/>
                      </a:cubicBezTo>
                      <a:cubicBezTo>
                        <a:pt x="89260" y="137273"/>
                        <a:pt x="87236" y="132098"/>
                        <a:pt x="86375" y="126727"/>
                      </a:cubicBezTo>
                      <a:cubicBezTo>
                        <a:pt x="85014" y="118244"/>
                        <a:pt x="86578" y="109596"/>
                        <a:pt x="88142" y="101148"/>
                      </a:cubicBezTo>
                      <a:cubicBezTo>
                        <a:pt x="90515" y="88311"/>
                        <a:pt x="90896" y="72124"/>
                        <a:pt x="95810" y="60050"/>
                      </a:cubicBezTo>
                      <a:cubicBezTo>
                        <a:pt x="100245" y="49163"/>
                        <a:pt x="113781" y="39209"/>
                        <a:pt x="115894" y="28231"/>
                      </a:cubicBezTo>
                      <a:cubicBezTo>
                        <a:pt x="119871" y="7560"/>
                        <a:pt x="107831" y="850"/>
                        <a:pt x="90653" y="37"/>
                      </a:cubicBezTo>
                      <a:cubicBezTo>
                        <a:pt x="74502" y="-726"/>
                        <a:pt x="45418" y="10423"/>
                        <a:pt x="30118" y="15909"/>
                      </a:cubicBezTo>
                      <a:cubicBezTo>
                        <a:pt x="406" y="26563"/>
                        <a:pt x="-1175" y="40443"/>
                        <a:pt x="420" y="72870"/>
                      </a:cubicBezTo>
                      <a:cubicBezTo>
                        <a:pt x="7177" y="75795"/>
                        <a:pt x="13761" y="75466"/>
                        <a:pt x="20825" y="7761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5" name="Forma libre 184">
                  <a:extLst>
                    <a:ext uri="{FF2B5EF4-FFF2-40B4-BE49-F238E27FC236}">
                      <a16:creationId xmlns:a16="http://schemas.microsoft.com/office/drawing/2014/main" id="{E73074E9-6D6C-2A4B-8B28-B08D12613B7B}"/>
                    </a:ext>
                  </a:extLst>
                </p:cNvPr>
                <p:cNvSpPr/>
                <p:nvPr/>
              </p:nvSpPr>
              <p:spPr>
                <a:xfrm>
                  <a:off x="5516291" y="3957717"/>
                  <a:ext cx="232621" cy="143571"/>
                </a:xfrm>
                <a:custGeom>
                  <a:avLst/>
                  <a:gdLst>
                    <a:gd name="connsiteX0" fmla="*/ 5173 w 232621"/>
                    <a:gd name="connsiteY0" fmla="*/ 36433 h 143571"/>
                    <a:gd name="connsiteX1" fmla="*/ 10262 w 232621"/>
                    <a:gd name="connsiteY1" fmla="*/ 43458 h 143571"/>
                    <a:gd name="connsiteX2" fmla="*/ 21329 w 232621"/>
                    <a:gd name="connsiteY2" fmla="*/ 46816 h 143571"/>
                    <a:gd name="connsiteX3" fmla="*/ 87993 w 232621"/>
                    <a:gd name="connsiteY3" fmla="*/ 90074 h 143571"/>
                    <a:gd name="connsiteX4" fmla="*/ 94633 w 232621"/>
                    <a:gd name="connsiteY4" fmla="*/ 98218 h 143571"/>
                    <a:gd name="connsiteX5" fmla="*/ 113218 w 232621"/>
                    <a:gd name="connsiteY5" fmla="*/ 100539 h 143571"/>
                    <a:gd name="connsiteX6" fmla="*/ 151154 w 232621"/>
                    <a:gd name="connsiteY6" fmla="*/ 129592 h 143571"/>
                    <a:gd name="connsiteX7" fmla="*/ 154941 w 232621"/>
                    <a:gd name="connsiteY7" fmla="*/ 142716 h 143571"/>
                    <a:gd name="connsiteX8" fmla="*/ 164039 w 232621"/>
                    <a:gd name="connsiteY8" fmla="*/ 142432 h 143571"/>
                    <a:gd name="connsiteX9" fmla="*/ 201279 w 232621"/>
                    <a:gd name="connsiteY9" fmla="*/ 110473 h 143571"/>
                    <a:gd name="connsiteX10" fmla="*/ 197588 w 232621"/>
                    <a:gd name="connsiteY10" fmla="*/ 89936 h 143571"/>
                    <a:gd name="connsiteX11" fmla="*/ 232596 w 232621"/>
                    <a:gd name="connsiteY11" fmla="*/ 882 h 143571"/>
                    <a:gd name="connsiteX12" fmla="*/ 168779 w 232621"/>
                    <a:gd name="connsiteY12" fmla="*/ 20205 h 143571"/>
                    <a:gd name="connsiteX13" fmla="*/ 155520 w 232621"/>
                    <a:gd name="connsiteY13" fmla="*/ 14580 h 143571"/>
                    <a:gd name="connsiteX14" fmla="*/ 102362 w 232621"/>
                    <a:gd name="connsiteY14" fmla="*/ 17064 h 143571"/>
                    <a:gd name="connsiteX15" fmla="*/ 60478 w 232621"/>
                    <a:gd name="connsiteY15" fmla="*/ 5378 h 143571"/>
                    <a:gd name="connsiteX16" fmla="*/ 5173 w 232621"/>
                    <a:gd name="connsiteY16" fmla="*/ 36433 h 1435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232621" h="143571">
                      <a:moveTo>
                        <a:pt x="5173" y="36433"/>
                      </a:moveTo>
                      <a:cubicBezTo>
                        <a:pt x="6411" y="39077"/>
                        <a:pt x="7922" y="41705"/>
                        <a:pt x="10262" y="43458"/>
                      </a:cubicBezTo>
                      <a:cubicBezTo>
                        <a:pt x="13384" y="45792"/>
                        <a:pt x="17476" y="46227"/>
                        <a:pt x="21329" y="46816"/>
                      </a:cubicBezTo>
                      <a:cubicBezTo>
                        <a:pt x="48315" y="50942"/>
                        <a:pt x="73230" y="67111"/>
                        <a:pt x="87993" y="90074"/>
                      </a:cubicBezTo>
                      <a:cubicBezTo>
                        <a:pt x="89900" y="93043"/>
                        <a:pt x="91734" y="96210"/>
                        <a:pt x="94633" y="98218"/>
                      </a:cubicBezTo>
                      <a:cubicBezTo>
                        <a:pt x="99867" y="101838"/>
                        <a:pt x="106856" y="100694"/>
                        <a:pt x="113218" y="100539"/>
                      </a:cubicBezTo>
                      <a:cubicBezTo>
                        <a:pt x="130859" y="100105"/>
                        <a:pt x="150294" y="111967"/>
                        <a:pt x="151154" y="129592"/>
                      </a:cubicBezTo>
                      <a:cubicBezTo>
                        <a:pt x="151386" y="134364"/>
                        <a:pt x="150815" y="140307"/>
                        <a:pt x="154941" y="142716"/>
                      </a:cubicBezTo>
                      <a:cubicBezTo>
                        <a:pt x="157645" y="144293"/>
                        <a:pt x="161055" y="143382"/>
                        <a:pt x="164039" y="142432"/>
                      </a:cubicBezTo>
                      <a:cubicBezTo>
                        <a:pt x="180696" y="137122"/>
                        <a:pt x="200502" y="127940"/>
                        <a:pt x="201279" y="110473"/>
                      </a:cubicBezTo>
                      <a:cubicBezTo>
                        <a:pt x="201589" y="103502"/>
                        <a:pt x="198534" y="96848"/>
                        <a:pt x="197588" y="89936"/>
                      </a:cubicBezTo>
                      <a:cubicBezTo>
                        <a:pt x="193173" y="57645"/>
                        <a:pt x="233773" y="33454"/>
                        <a:pt x="232596" y="882"/>
                      </a:cubicBezTo>
                      <a:cubicBezTo>
                        <a:pt x="209846" y="946"/>
                        <a:pt x="190512" y="26934"/>
                        <a:pt x="168779" y="20205"/>
                      </a:cubicBezTo>
                      <a:cubicBezTo>
                        <a:pt x="164186" y="18782"/>
                        <a:pt x="160122" y="15960"/>
                        <a:pt x="155520" y="14580"/>
                      </a:cubicBezTo>
                      <a:cubicBezTo>
                        <a:pt x="139555" y="9799"/>
                        <a:pt x="119286" y="18528"/>
                        <a:pt x="102362" y="17064"/>
                      </a:cubicBezTo>
                      <a:cubicBezTo>
                        <a:pt x="86992" y="15736"/>
                        <a:pt x="74813" y="9252"/>
                        <a:pt x="60478" y="5378"/>
                      </a:cubicBezTo>
                      <a:cubicBezTo>
                        <a:pt x="32140" y="-2277"/>
                        <a:pt x="-15846" y="-8445"/>
                        <a:pt x="5173" y="36433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6" name="Forma libre 185">
                  <a:extLst>
                    <a:ext uri="{FF2B5EF4-FFF2-40B4-BE49-F238E27FC236}">
                      <a16:creationId xmlns:a16="http://schemas.microsoft.com/office/drawing/2014/main" id="{77843027-DDA9-F843-84F2-E4B3C39A7AB3}"/>
                    </a:ext>
                  </a:extLst>
                </p:cNvPr>
                <p:cNvSpPr/>
                <p:nvPr/>
              </p:nvSpPr>
              <p:spPr>
                <a:xfrm>
                  <a:off x="4829967" y="3731176"/>
                  <a:ext cx="69214" cy="35393"/>
                </a:xfrm>
                <a:custGeom>
                  <a:avLst/>
                  <a:gdLst>
                    <a:gd name="connsiteX0" fmla="*/ 57096 w 69214"/>
                    <a:gd name="connsiteY0" fmla="*/ 3560 h 35393"/>
                    <a:gd name="connsiteX1" fmla="*/ 0 w 69214"/>
                    <a:gd name="connsiteY1" fmla="*/ 10619 h 35393"/>
                    <a:gd name="connsiteX2" fmla="*/ 61992 w 69214"/>
                    <a:gd name="connsiteY2" fmla="*/ 35394 h 35393"/>
                    <a:gd name="connsiteX3" fmla="*/ 66825 w 69214"/>
                    <a:gd name="connsiteY3" fmla="*/ 12474 h 35393"/>
                    <a:gd name="connsiteX4" fmla="*/ 57096 w 69214"/>
                    <a:gd name="connsiteY4" fmla="*/ 3560 h 353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9214" h="35393">
                      <a:moveTo>
                        <a:pt x="57096" y="3560"/>
                      </a:moveTo>
                      <a:cubicBezTo>
                        <a:pt x="39168" y="-4221"/>
                        <a:pt x="17514" y="1946"/>
                        <a:pt x="0" y="10619"/>
                      </a:cubicBezTo>
                      <a:cubicBezTo>
                        <a:pt x="23039" y="7912"/>
                        <a:pt x="47164" y="17553"/>
                        <a:pt x="61992" y="35394"/>
                      </a:cubicBezTo>
                      <a:cubicBezTo>
                        <a:pt x="67182" y="28667"/>
                        <a:pt x="72386" y="18895"/>
                        <a:pt x="66825" y="12474"/>
                      </a:cubicBezTo>
                      <a:cubicBezTo>
                        <a:pt x="66825" y="12474"/>
                        <a:pt x="61288" y="5380"/>
                        <a:pt x="57096" y="356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7" name="Forma libre 186">
                  <a:extLst>
                    <a:ext uri="{FF2B5EF4-FFF2-40B4-BE49-F238E27FC236}">
                      <a16:creationId xmlns:a16="http://schemas.microsoft.com/office/drawing/2014/main" id="{42281C3A-0C02-4E45-8BA7-C45EAE1AD98E}"/>
                    </a:ext>
                  </a:extLst>
                </p:cNvPr>
                <p:cNvSpPr/>
                <p:nvPr/>
              </p:nvSpPr>
              <p:spPr>
                <a:xfrm>
                  <a:off x="6296508" y="3911538"/>
                  <a:ext cx="119482" cy="68211"/>
                </a:xfrm>
                <a:custGeom>
                  <a:avLst/>
                  <a:gdLst>
                    <a:gd name="connsiteX0" fmla="*/ 92369 w 119482"/>
                    <a:gd name="connsiteY0" fmla="*/ 53472 h 68211"/>
                    <a:gd name="connsiteX1" fmla="*/ 119483 w 119482"/>
                    <a:gd name="connsiteY1" fmla="*/ 68193 h 68211"/>
                    <a:gd name="connsiteX2" fmla="*/ 52276 w 119482"/>
                    <a:gd name="connsiteY2" fmla="*/ 4247 h 68211"/>
                    <a:gd name="connsiteX3" fmla="*/ 0 w 119482"/>
                    <a:gd name="connsiteY3" fmla="*/ 6108 h 68211"/>
                    <a:gd name="connsiteX4" fmla="*/ 38773 w 119482"/>
                    <a:gd name="connsiteY4" fmla="*/ 16293 h 68211"/>
                    <a:gd name="connsiteX5" fmla="*/ 92369 w 119482"/>
                    <a:gd name="connsiteY5" fmla="*/ 53472 h 68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19482" h="68211">
                      <a:moveTo>
                        <a:pt x="92369" y="53472"/>
                      </a:moveTo>
                      <a:cubicBezTo>
                        <a:pt x="99378" y="61479"/>
                        <a:pt x="108849" y="68618"/>
                        <a:pt x="119483" y="68193"/>
                      </a:cubicBezTo>
                      <a:cubicBezTo>
                        <a:pt x="98856" y="45110"/>
                        <a:pt x="76354" y="23702"/>
                        <a:pt x="52276" y="4247"/>
                      </a:cubicBezTo>
                      <a:cubicBezTo>
                        <a:pt x="41603" y="-4375"/>
                        <a:pt x="12493" y="2157"/>
                        <a:pt x="0" y="6108"/>
                      </a:cubicBezTo>
                      <a:cubicBezTo>
                        <a:pt x="10743" y="12223"/>
                        <a:pt x="26438" y="12991"/>
                        <a:pt x="38773" y="16293"/>
                      </a:cubicBezTo>
                      <a:cubicBezTo>
                        <a:pt x="64130" y="23081"/>
                        <a:pt x="75003" y="34467"/>
                        <a:pt x="92369" y="5347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8" name="Forma libre 187">
                  <a:extLst>
                    <a:ext uri="{FF2B5EF4-FFF2-40B4-BE49-F238E27FC236}">
                      <a16:creationId xmlns:a16="http://schemas.microsoft.com/office/drawing/2014/main" id="{3E82CDB4-DA41-F649-A596-19253072C4FF}"/>
                    </a:ext>
                  </a:extLst>
                </p:cNvPr>
                <p:cNvSpPr/>
                <p:nvPr/>
              </p:nvSpPr>
              <p:spPr>
                <a:xfrm>
                  <a:off x="6847065" y="3222130"/>
                  <a:ext cx="262795" cy="140551"/>
                </a:xfrm>
                <a:custGeom>
                  <a:avLst/>
                  <a:gdLst>
                    <a:gd name="connsiteX0" fmla="*/ 80177 w 262795"/>
                    <a:gd name="connsiteY0" fmla="*/ 80328 h 140551"/>
                    <a:gd name="connsiteX1" fmla="*/ 75571 w 262795"/>
                    <a:gd name="connsiteY1" fmla="*/ 139862 h 140551"/>
                    <a:gd name="connsiteX2" fmla="*/ 111089 w 262795"/>
                    <a:gd name="connsiteY2" fmla="*/ 125576 h 140551"/>
                    <a:gd name="connsiteX3" fmla="*/ 121788 w 262795"/>
                    <a:gd name="connsiteY3" fmla="*/ 109014 h 140551"/>
                    <a:gd name="connsiteX4" fmla="*/ 131992 w 262795"/>
                    <a:gd name="connsiteY4" fmla="*/ 102718 h 140551"/>
                    <a:gd name="connsiteX5" fmla="*/ 192789 w 262795"/>
                    <a:gd name="connsiteY5" fmla="*/ 73283 h 140551"/>
                    <a:gd name="connsiteX6" fmla="*/ 191349 w 262795"/>
                    <a:gd name="connsiteY6" fmla="*/ 55769 h 140551"/>
                    <a:gd name="connsiteX7" fmla="*/ 245396 w 262795"/>
                    <a:gd name="connsiteY7" fmla="*/ 43118 h 140551"/>
                    <a:gd name="connsiteX8" fmla="*/ 259835 w 262795"/>
                    <a:gd name="connsiteY8" fmla="*/ 34827 h 140551"/>
                    <a:gd name="connsiteX9" fmla="*/ 259868 w 262795"/>
                    <a:gd name="connsiteY9" fmla="*/ 19591 h 140551"/>
                    <a:gd name="connsiteX10" fmla="*/ 240605 w 262795"/>
                    <a:gd name="connsiteY10" fmla="*/ 21425 h 140551"/>
                    <a:gd name="connsiteX11" fmla="*/ 174002 w 262795"/>
                    <a:gd name="connsiteY11" fmla="*/ 33683 h 140551"/>
                    <a:gd name="connsiteX12" fmla="*/ 158622 w 262795"/>
                    <a:gd name="connsiteY12" fmla="*/ 29669 h 140551"/>
                    <a:gd name="connsiteX13" fmla="*/ 87691 w 262795"/>
                    <a:gd name="connsiteY13" fmla="*/ 3262 h 140551"/>
                    <a:gd name="connsiteX14" fmla="*/ 18729 w 262795"/>
                    <a:gd name="connsiteY14" fmla="*/ 30498 h 140551"/>
                    <a:gd name="connsiteX15" fmla="*/ 80177 w 262795"/>
                    <a:gd name="connsiteY15" fmla="*/ 80328 h 1405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62795" h="140551">
                      <a:moveTo>
                        <a:pt x="80177" y="80328"/>
                      </a:moveTo>
                      <a:cubicBezTo>
                        <a:pt x="88265" y="99019"/>
                        <a:pt x="67737" y="121065"/>
                        <a:pt x="75571" y="139862"/>
                      </a:cubicBezTo>
                      <a:cubicBezTo>
                        <a:pt x="88812" y="142658"/>
                        <a:pt x="103473" y="136763"/>
                        <a:pt x="111089" y="125576"/>
                      </a:cubicBezTo>
                      <a:cubicBezTo>
                        <a:pt x="114802" y="120122"/>
                        <a:pt x="116994" y="113546"/>
                        <a:pt x="121788" y="109014"/>
                      </a:cubicBezTo>
                      <a:cubicBezTo>
                        <a:pt x="124706" y="106256"/>
                        <a:pt x="128379" y="104466"/>
                        <a:pt x="131992" y="102718"/>
                      </a:cubicBezTo>
                      <a:cubicBezTo>
                        <a:pt x="152256" y="92906"/>
                        <a:pt x="172523" y="83094"/>
                        <a:pt x="192789" y="73283"/>
                      </a:cubicBezTo>
                      <a:cubicBezTo>
                        <a:pt x="192309" y="67446"/>
                        <a:pt x="191829" y="61607"/>
                        <a:pt x="191349" y="55769"/>
                      </a:cubicBezTo>
                      <a:cubicBezTo>
                        <a:pt x="209716" y="53314"/>
                        <a:pt x="227847" y="49071"/>
                        <a:pt x="245396" y="43118"/>
                      </a:cubicBezTo>
                      <a:cubicBezTo>
                        <a:pt x="250722" y="41310"/>
                        <a:pt x="256257" y="39168"/>
                        <a:pt x="259835" y="34827"/>
                      </a:cubicBezTo>
                      <a:cubicBezTo>
                        <a:pt x="263413" y="30483"/>
                        <a:pt x="264122" y="23273"/>
                        <a:pt x="259868" y="19591"/>
                      </a:cubicBezTo>
                      <a:cubicBezTo>
                        <a:pt x="254680" y="15099"/>
                        <a:pt x="246782" y="18436"/>
                        <a:pt x="240605" y="21425"/>
                      </a:cubicBezTo>
                      <a:cubicBezTo>
                        <a:pt x="220039" y="31384"/>
                        <a:pt x="196762" y="35667"/>
                        <a:pt x="174002" y="33683"/>
                      </a:cubicBezTo>
                      <a:cubicBezTo>
                        <a:pt x="168679" y="33220"/>
                        <a:pt x="163233" y="32369"/>
                        <a:pt x="158622" y="29669"/>
                      </a:cubicBezTo>
                      <a:cubicBezTo>
                        <a:pt x="130493" y="13212"/>
                        <a:pt x="125381" y="-8269"/>
                        <a:pt x="87691" y="3262"/>
                      </a:cubicBezTo>
                      <a:cubicBezTo>
                        <a:pt x="64621" y="10320"/>
                        <a:pt x="39909" y="18840"/>
                        <a:pt x="18729" y="30498"/>
                      </a:cubicBezTo>
                      <a:cubicBezTo>
                        <a:pt x="-43919" y="64980"/>
                        <a:pt x="69816" y="56384"/>
                        <a:pt x="80177" y="8032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9" name="Forma libre 188">
                  <a:extLst>
                    <a:ext uri="{FF2B5EF4-FFF2-40B4-BE49-F238E27FC236}">
                      <a16:creationId xmlns:a16="http://schemas.microsoft.com/office/drawing/2014/main" id="{FF143994-D557-2940-BF2C-4F46B03E9D5F}"/>
                    </a:ext>
                  </a:extLst>
                </p:cNvPr>
                <p:cNvSpPr/>
                <p:nvPr/>
              </p:nvSpPr>
              <p:spPr>
                <a:xfrm>
                  <a:off x="5547675" y="2285856"/>
                  <a:ext cx="62017" cy="45420"/>
                </a:xfrm>
                <a:custGeom>
                  <a:avLst/>
                  <a:gdLst>
                    <a:gd name="connsiteX0" fmla="*/ 36959 w 62017"/>
                    <a:gd name="connsiteY0" fmla="*/ 4872 h 45420"/>
                    <a:gd name="connsiteX1" fmla="*/ 0 w 62017"/>
                    <a:gd name="connsiteY1" fmla="*/ 20779 h 45420"/>
                    <a:gd name="connsiteX2" fmla="*/ 40667 w 62017"/>
                    <a:gd name="connsiteY2" fmla="*/ 34279 h 45420"/>
                    <a:gd name="connsiteX3" fmla="*/ 42518 w 62017"/>
                    <a:gd name="connsiteY3" fmla="*/ 42467 h 45420"/>
                    <a:gd name="connsiteX4" fmla="*/ 49805 w 62017"/>
                    <a:gd name="connsiteY4" fmla="*/ 44811 h 45420"/>
                    <a:gd name="connsiteX5" fmla="*/ 51988 w 62017"/>
                    <a:gd name="connsiteY5" fmla="*/ 42390 h 45420"/>
                    <a:gd name="connsiteX6" fmla="*/ 61694 w 62017"/>
                    <a:gd name="connsiteY6" fmla="*/ 2486 h 45420"/>
                    <a:gd name="connsiteX7" fmla="*/ 19371 w 62017"/>
                    <a:gd name="connsiteY7" fmla="*/ 7091 h 45420"/>
                    <a:gd name="connsiteX8" fmla="*/ 36959 w 62017"/>
                    <a:gd name="connsiteY8" fmla="*/ 4872 h 45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2017" h="45420">
                      <a:moveTo>
                        <a:pt x="36959" y="4872"/>
                      </a:moveTo>
                      <a:cubicBezTo>
                        <a:pt x="24319" y="9389"/>
                        <a:pt x="11969" y="14704"/>
                        <a:pt x="0" y="20779"/>
                      </a:cubicBezTo>
                      <a:cubicBezTo>
                        <a:pt x="12152" y="28565"/>
                        <a:pt x="26271" y="33252"/>
                        <a:pt x="40667" y="34279"/>
                      </a:cubicBezTo>
                      <a:cubicBezTo>
                        <a:pt x="40807" y="37108"/>
                        <a:pt x="40990" y="40082"/>
                        <a:pt x="42518" y="42467"/>
                      </a:cubicBezTo>
                      <a:cubicBezTo>
                        <a:pt x="44045" y="44853"/>
                        <a:pt x="47403" y="46313"/>
                        <a:pt x="49805" y="44811"/>
                      </a:cubicBezTo>
                      <a:cubicBezTo>
                        <a:pt x="50731" y="44230"/>
                        <a:pt x="51386" y="43305"/>
                        <a:pt x="51988" y="42390"/>
                      </a:cubicBezTo>
                      <a:cubicBezTo>
                        <a:pt x="59660" y="30726"/>
                        <a:pt x="63150" y="16371"/>
                        <a:pt x="61694" y="2486"/>
                      </a:cubicBezTo>
                      <a:cubicBezTo>
                        <a:pt x="47788" y="-2039"/>
                        <a:pt x="31979" y="-319"/>
                        <a:pt x="19371" y="7091"/>
                      </a:cubicBezTo>
                      <a:lnTo>
                        <a:pt x="36959" y="4872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0" name="Forma libre 189">
                  <a:extLst>
                    <a:ext uri="{FF2B5EF4-FFF2-40B4-BE49-F238E27FC236}">
                      <a16:creationId xmlns:a16="http://schemas.microsoft.com/office/drawing/2014/main" id="{33D3E138-0CE3-104D-9B23-35A9603DA817}"/>
                    </a:ext>
                  </a:extLst>
                </p:cNvPr>
                <p:cNvSpPr/>
                <p:nvPr/>
              </p:nvSpPr>
              <p:spPr>
                <a:xfrm>
                  <a:off x="5603947" y="2430508"/>
                  <a:ext cx="72680" cy="77211"/>
                </a:xfrm>
                <a:custGeom>
                  <a:avLst/>
                  <a:gdLst>
                    <a:gd name="connsiteX0" fmla="*/ 46312 w 72680"/>
                    <a:gd name="connsiteY0" fmla="*/ 29338 h 77211"/>
                    <a:gd name="connsiteX1" fmla="*/ 37489 w 72680"/>
                    <a:gd name="connsiteY1" fmla="*/ 37529 h 77211"/>
                    <a:gd name="connsiteX2" fmla="*/ 26272 w 72680"/>
                    <a:gd name="connsiteY2" fmla="*/ 36206 h 77211"/>
                    <a:gd name="connsiteX3" fmla="*/ 23494 w 72680"/>
                    <a:gd name="connsiteY3" fmla="*/ 23883 h 77211"/>
                    <a:gd name="connsiteX4" fmla="*/ 15171 w 72680"/>
                    <a:gd name="connsiteY4" fmla="*/ 16705 h 77211"/>
                    <a:gd name="connsiteX5" fmla="*/ 12302 w 72680"/>
                    <a:gd name="connsiteY5" fmla="*/ 19626 h 77211"/>
                    <a:gd name="connsiteX6" fmla="*/ 4008 w 72680"/>
                    <a:gd name="connsiteY6" fmla="*/ 31527 h 77211"/>
                    <a:gd name="connsiteX7" fmla="*/ 78 w 72680"/>
                    <a:gd name="connsiteY7" fmla="*/ 39709 h 77211"/>
                    <a:gd name="connsiteX8" fmla="*/ 2414 w 72680"/>
                    <a:gd name="connsiteY8" fmla="*/ 49518 h 77211"/>
                    <a:gd name="connsiteX9" fmla="*/ 23214 w 72680"/>
                    <a:gd name="connsiteY9" fmla="*/ 73659 h 77211"/>
                    <a:gd name="connsiteX10" fmla="*/ 30356 w 72680"/>
                    <a:gd name="connsiteY10" fmla="*/ 75670 h 77211"/>
                    <a:gd name="connsiteX11" fmla="*/ 33463 w 72680"/>
                    <a:gd name="connsiteY11" fmla="*/ 77189 h 77211"/>
                    <a:gd name="connsiteX12" fmla="*/ 37644 w 72680"/>
                    <a:gd name="connsiteY12" fmla="*/ 75242 h 77211"/>
                    <a:gd name="connsiteX13" fmla="*/ 72643 w 72680"/>
                    <a:gd name="connsiteY13" fmla="*/ 0 h 77211"/>
                    <a:gd name="connsiteX14" fmla="*/ 46312 w 72680"/>
                    <a:gd name="connsiteY14" fmla="*/ 29338 h 77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72680" h="77211">
                      <a:moveTo>
                        <a:pt x="46312" y="29338"/>
                      </a:moveTo>
                      <a:cubicBezTo>
                        <a:pt x="43773" y="32490"/>
                        <a:pt x="41119" y="35737"/>
                        <a:pt x="37489" y="37529"/>
                      </a:cubicBezTo>
                      <a:cubicBezTo>
                        <a:pt x="33862" y="39321"/>
                        <a:pt x="28966" y="39226"/>
                        <a:pt x="26272" y="36206"/>
                      </a:cubicBezTo>
                      <a:cubicBezTo>
                        <a:pt x="23415" y="33003"/>
                        <a:pt x="24063" y="28138"/>
                        <a:pt x="23494" y="23883"/>
                      </a:cubicBezTo>
                      <a:cubicBezTo>
                        <a:pt x="22925" y="19628"/>
                        <a:pt x="19022" y="14809"/>
                        <a:pt x="15171" y="16705"/>
                      </a:cubicBezTo>
                      <a:cubicBezTo>
                        <a:pt x="13932" y="17315"/>
                        <a:pt x="13090" y="18492"/>
                        <a:pt x="12302" y="19626"/>
                      </a:cubicBezTo>
                      <a:cubicBezTo>
                        <a:pt x="9536" y="23593"/>
                        <a:pt x="6773" y="27559"/>
                        <a:pt x="4008" y="31527"/>
                      </a:cubicBezTo>
                      <a:cubicBezTo>
                        <a:pt x="2259" y="34035"/>
                        <a:pt x="461" y="36676"/>
                        <a:pt x="78" y="39709"/>
                      </a:cubicBezTo>
                      <a:cubicBezTo>
                        <a:pt x="-349" y="43087"/>
                        <a:pt x="1049" y="46400"/>
                        <a:pt x="2414" y="49518"/>
                      </a:cubicBezTo>
                      <a:cubicBezTo>
                        <a:pt x="6835" y="59605"/>
                        <a:pt x="12561" y="70860"/>
                        <a:pt x="23214" y="73659"/>
                      </a:cubicBezTo>
                      <a:cubicBezTo>
                        <a:pt x="25616" y="74289"/>
                        <a:pt x="28193" y="74452"/>
                        <a:pt x="30356" y="75670"/>
                      </a:cubicBezTo>
                      <a:cubicBezTo>
                        <a:pt x="31368" y="76241"/>
                        <a:pt x="32309" y="77045"/>
                        <a:pt x="33463" y="77189"/>
                      </a:cubicBezTo>
                      <a:cubicBezTo>
                        <a:pt x="35037" y="77385"/>
                        <a:pt x="36455" y="76295"/>
                        <a:pt x="37644" y="75242"/>
                      </a:cubicBezTo>
                      <a:cubicBezTo>
                        <a:pt x="58284" y="56996"/>
                        <a:pt x="73539" y="27922"/>
                        <a:pt x="72643" y="0"/>
                      </a:cubicBezTo>
                      <a:cubicBezTo>
                        <a:pt x="61635" y="3970"/>
                        <a:pt x="53691" y="20177"/>
                        <a:pt x="46312" y="2933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1" name="Forma libre 190">
                  <a:extLst>
                    <a:ext uri="{FF2B5EF4-FFF2-40B4-BE49-F238E27FC236}">
                      <a16:creationId xmlns:a16="http://schemas.microsoft.com/office/drawing/2014/main" id="{4DF522C7-D3EB-1C43-BD7D-A731E5BFF9D3}"/>
                    </a:ext>
                  </a:extLst>
                </p:cNvPr>
                <p:cNvSpPr/>
                <p:nvPr/>
              </p:nvSpPr>
              <p:spPr>
                <a:xfrm>
                  <a:off x="5551951" y="2476668"/>
                  <a:ext cx="40921" cy="35137"/>
                </a:xfrm>
                <a:custGeom>
                  <a:avLst/>
                  <a:gdLst>
                    <a:gd name="connsiteX0" fmla="*/ 447 w 40921"/>
                    <a:gd name="connsiteY0" fmla="*/ 5221 h 35137"/>
                    <a:gd name="connsiteX1" fmla="*/ 5051 w 40921"/>
                    <a:gd name="connsiteY1" fmla="*/ 19894 h 35137"/>
                    <a:gd name="connsiteX2" fmla="*/ 18547 w 40921"/>
                    <a:gd name="connsiteY2" fmla="*/ 28530 h 35137"/>
                    <a:gd name="connsiteX3" fmla="*/ 28211 w 40921"/>
                    <a:gd name="connsiteY3" fmla="*/ 33235 h 35137"/>
                    <a:gd name="connsiteX4" fmla="*/ 35558 w 40921"/>
                    <a:gd name="connsiteY4" fmla="*/ 35021 h 35137"/>
                    <a:gd name="connsiteX5" fmla="*/ 39282 w 40921"/>
                    <a:gd name="connsiteY5" fmla="*/ 18702 h 35137"/>
                    <a:gd name="connsiteX6" fmla="*/ 24134 w 40921"/>
                    <a:gd name="connsiteY6" fmla="*/ 1751 h 35137"/>
                    <a:gd name="connsiteX7" fmla="*/ 2963 w 40921"/>
                    <a:gd name="connsiteY7" fmla="*/ 5779 h 35137"/>
                    <a:gd name="connsiteX8" fmla="*/ 447 w 40921"/>
                    <a:gd name="connsiteY8" fmla="*/ 5221 h 35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0921" h="35137">
                      <a:moveTo>
                        <a:pt x="447" y="5221"/>
                      </a:moveTo>
                      <a:cubicBezTo>
                        <a:pt x="-1030" y="10383"/>
                        <a:pt x="1319" y="16033"/>
                        <a:pt x="5051" y="19894"/>
                      </a:cubicBezTo>
                      <a:cubicBezTo>
                        <a:pt x="8784" y="23755"/>
                        <a:pt x="13718" y="26180"/>
                        <a:pt x="18547" y="28530"/>
                      </a:cubicBezTo>
                      <a:cubicBezTo>
                        <a:pt x="21768" y="30098"/>
                        <a:pt x="24989" y="31668"/>
                        <a:pt x="28211" y="33235"/>
                      </a:cubicBezTo>
                      <a:cubicBezTo>
                        <a:pt x="30517" y="34360"/>
                        <a:pt x="33037" y="35514"/>
                        <a:pt x="35558" y="35021"/>
                      </a:cubicBezTo>
                      <a:cubicBezTo>
                        <a:pt x="41877" y="33784"/>
                        <a:pt x="41897" y="24585"/>
                        <a:pt x="39282" y="18702"/>
                      </a:cubicBezTo>
                      <a:cubicBezTo>
                        <a:pt x="36135" y="11621"/>
                        <a:pt x="31183" y="4964"/>
                        <a:pt x="24134" y="1751"/>
                      </a:cubicBezTo>
                      <a:cubicBezTo>
                        <a:pt x="17083" y="-1460"/>
                        <a:pt x="7729" y="-332"/>
                        <a:pt x="2963" y="5779"/>
                      </a:cubicBezTo>
                      <a:lnTo>
                        <a:pt x="447" y="5221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2" name="Forma libre 191">
                  <a:extLst>
                    <a:ext uri="{FF2B5EF4-FFF2-40B4-BE49-F238E27FC236}">
                      <a16:creationId xmlns:a16="http://schemas.microsoft.com/office/drawing/2014/main" id="{FDFC7409-ABB3-B045-BBB3-B921186078D2}"/>
                    </a:ext>
                  </a:extLst>
                </p:cNvPr>
                <p:cNvSpPr/>
                <p:nvPr/>
              </p:nvSpPr>
              <p:spPr>
                <a:xfrm>
                  <a:off x="5591748" y="2529091"/>
                  <a:ext cx="35552" cy="24293"/>
                </a:xfrm>
                <a:custGeom>
                  <a:avLst/>
                  <a:gdLst>
                    <a:gd name="connsiteX0" fmla="*/ 25103 w 35552"/>
                    <a:gd name="connsiteY0" fmla="*/ 10371 h 24293"/>
                    <a:gd name="connsiteX1" fmla="*/ 35520 w 35552"/>
                    <a:gd name="connsiteY1" fmla="*/ 24293 h 24293"/>
                    <a:gd name="connsiteX2" fmla="*/ 0 w 35552"/>
                    <a:gd name="connsiteY2" fmla="*/ 0 h 24293"/>
                    <a:gd name="connsiteX3" fmla="*/ 25103 w 35552"/>
                    <a:gd name="connsiteY3" fmla="*/ 10371 h 242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552" h="24293">
                      <a:moveTo>
                        <a:pt x="25103" y="10371"/>
                      </a:moveTo>
                      <a:cubicBezTo>
                        <a:pt x="31288" y="11695"/>
                        <a:pt x="35995" y="17986"/>
                        <a:pt x="35520" y="24293"/>
                      </a:cubicBezTo>
                      <a:cubicBezTo>
                        <a:pt x="21654" y="19882"/>
                        <a:pt x="9138" y="11322"/>
                        <a:pt x="0" y="0"/>
                      </a:cubicBezTo>
                      <a:lnTo>
                        <a:pt x="25103" y="10371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3" name="Forma libre 192">
                  <a:extLst>
                    <a:ext uri="{FF2B5EF4-FFF2-40B4-BE49-F238E27FC236}">
                      <a16:creationId xmlns:a16="http://schemas.microsoft.com/office/drawing/2014/main" id="{2407C5A5-1D13-5E48-8C3E-607D6509D07E}"/>
                    </a:ext>
                  </a:extLst>
                </p:cNvPr>
                <p:cNvSpPr/>
                <p:nvPr/>
              </p:nvSpPr>
              <p:spPr>
                <a:xfrm>
                  <a:off x="6161850" y="2209973"/>
                  <a:ext cx="54277" cy="40167"/>
                </a:xfrm>
                <a:custGeom>
                  <a:avLst/>
                  <a:gdLst>
                    <a:gd name="connsiteX0" fmla="*/ 37814 w 54277"/>
                    <a:gd name="connsiteY0" fmla="*/ 3364 h 40167"/>
                    <a:gd name="connsiteX1" fmla="*/ 51344 w 54277"/>
                    <a:gd name="connsiteY1" fmla="*/ 2675 h 40167"/>
                    <a:gd name="connsiteX2" fmla="*/ 52492 w 54277"/>
                    <a:gd name="connsiteY2" fmla="*/ 17088 h 40167"/>
                    <a:gd name="connsiteX3" fmla="*/ 37696 w 54277"/>
                    <a:gd name="connsiteY3" fmla="*/ 27662 h 40167"/>
                    <a:gd name="connsiteX4" fmla="*/ 13363 w 54277"/>
                    <a:gd name="connsiteY4" fmla="*/ 38269 h 40167"/>
                    <a:gd name="connsiteX5" fmla="*/ 2761 w 54277"/>
                    <a:gd name="connsiteY5" fmla="*/ 39179 h 40167"/>
                    <a:gd name="connsiteX6" fmla="*/ 1090 w 54277"/>
                    <a:gd name="connsiteY6" fmla="*/ 29095 h 40167"/>
                    <a:gd name="connsiteX7" fmla="*/ 9291 w 54277"/>
                    <a:gd name="connsiteY7" fmla="*/ 21581 h 40167"/>
                    <a:gd name="connsiteX8" fmla="*/ 37814 w 54277"/>
                    <a:gd name="connsiteY8" fmla="*/ 3364 h 401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4277" h="40167">
                      <a:moveTo>
                        <a:pt x="37814" y="3364"/>
                      </a:moveTo>
                      <a:cubicBezTo>
                        <a:pt x="40668" y="-957"/>
                        <a:pt x="47734" y="-1038"/>
                        <a:pt x="51344" y="2675"/>
                      </a:cubicBezTo>
                      <a:cubicBezTo>
                        <a:pt x="54953" y="6386"/>
                        <a:pt x="55106" y="12619"/>
                        <a:pt x="52492" y="17088"/>
                      </a:cubicBezTo>
                      <a:cubicBezTo>
                        <a:pt x="49374" y="22415"/>
                        <a:pt x="43352" y="25196"/>
                        <a:pt x="37696" y="27662"/>
                      </a:cubicBezTo>
                      <a:cubicBezTo>
                        <a:pt x="29585" y="31198"/>
                        <a:pt x="21474" y="34733"/>
                        <a:pt x="13363" y="38269"/>
                      </a:cubicBezTo>
                      <a:cubicBezTo>
                        <a:pt x="9967" y="39748"/>
                        <a:pt x="5874" y="41189"/>
                        <a:pt x="2761" y="39179"/>
                      </a:cubicBezTo>
                      <a:cubicBezTo>
                        <a:pt x="-387" y="37146"/>
                        <a:pt x="-696" y="32390"/>
                        <a:pt x="1090" y="29095"/>
                      </a:cubicBezTo>
                      <a:cubicBezTo>
                        <a:pt x="2877" y="25799"/>
                        <a:pt x="6147" y="23623"/>
                        <a:pt x="9291" y="21581"/>
                      </a:cubicBezTo>
                      <a:lnTo>
                        <a:pt x="37814" y="3364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4" name="Forma libre 193">
                  <a:extLst>
                    <a:ext uri="{FF2B5EF4-FFF2-40B4-BE49-F238E27FC236}">
                      <a16:creationId xmlns:a16="http://schemas.microsoft.com/office/drawing/2014/main" id="{63E9922F-7ED0-0C4F-94F6-4B365660F6DA}"/>
                    </a:ext>
                  </a:extLst>
                </p:cNvPr>
                <p:cNvSpPr/>
                <p:nvPr/>
              </p:nvSpPr>
              <p:spPr>
                <a:xfrm>
                  <a:off x="6977554" y="1094853"/>
                  <a:ext cx="62561" cy="91955"/>
                </a:xfrm>
                <a:custGeom>
                  <a:avLst/>
                  <a:gdLst>
                    <a:gd name="connsiteX0" fmla="*/ 4826 w 62561"/>
                    <a:gd name="connsiteY0" fmla="*/ 62398 h 91955"/>
                    <a:gd name="connsiteX1" fmla="*/ 24489 w 62561"/>
                    <a:gd name="connsiteY1" fmla="*/ 78533 h 91955"/>
                    <a:gd name="connsiteX2" fmla="*/ 39055 w 62561"/>
                    <a:gd name="connsiteY2" fmla="*/ 91934 h 91955"/>
                    <a:gd name="connsiteX3" fmla="*/ 50056 w 62561"/>
                    <a:gd name="connsiteY3" fmla="*/ 75552 h 91955"/>
                    <a:gd name="connsiteX4" fmla="*/ 59707 w 62561"/>
                    <a:gd name="connsiteY4" fmla="*/ 55631 h 91955"/>
                    <a:gd name="connsiteX5" fmla="*/ 60154 w 62561"/>
                    <a:gd name="connsiteY5" fmla="*/ 34349 h 91955"/>
                    <a:gd name="connsiteX6" fmla="*/ 33264 w 62561"/>
                    <a:gd name="connsiteY6" fmla="*/ 17595 h 91955"/>
                    <a:gd name="connsiteX7" fmla="*/ 24919 w 62561"/>
                    <a:gd name="connsiteY7" fmla="*/ 7514 h 91955"/>
                    <a:gd name="connsiteX8" fmla="*/ 3934 w 62561"/>
                    <a:gd name="connsiteY8" fmla="*/ 116 h 91955"/>
                    <a:gd name="connsiteX9" fmla="*/ 4826 w 62561"/>
                    <a:gd name="connsiteY9" fmla="*/ 62398 h 91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2561" h="91955">
                      <a:moveTo>
                        <a:pt x="4826" y="62398"/>
                      </a:moveTo>
                      <a:cubicBezTo>
                        <a:pt x="9910" y="69233"/>
                        <a:pt x="19088" y="71942"/>
                        <a:pt x="24489" y="78533"/>
                      </a:cubicBezTo>
                      <a:cubicBezTo>
                        <a:pt x="28880" y="83895"/>
                        <a:pt x="32143" y="92446"/>
                        <a:pt x="39055" y="91934"/>
                      </a:cubicBezTo>
                      <a:cubicBezTo>
                        <a:pt x="46080" y="91413"/>
                        <a:pt x="47934" y="82271"/>
                        <a:pt x="50056" y="75552"/>
                      </a:cubicBezTo>
                      <a:cubicBezTo>
                        <a:pt x="52278" y="68506"/>
                        <a:pt x="56721" y="62388"/>
                        <a:pt x="59707" y="55631"/>
                      </a:cubicBezTo>
                      <a:cubicBezTo>
                        <a:pt x="62694" y="48872"/>
                        <a:pt x="64066" y="40621"/>
                        <a:pt x="60154" y="34349"/>
                      </a:cubicBezTo>
                      <a:cubicBezTo>
                        <a:pt x="54491" y="25268"/>
                        <a:pt x="41132" y="24849"/>
                        <a:pt x="33264" y="17595"/>
                      </a:cubicBezTo>
                      <a:cubicBezTo>
                        <a:pt x="30053" y="14634"/>
                        <a:pt x="27929" y="10678"/>
                        <a:pt x="24919" y="7514"/>
                      </a:cubicBezTo>
                      <a:cubicBezTo>
                        <a:pt x="19551" y="1876"/>
                        <a:pt x="11592" y="-582"/>
                        <a:pt x="3934" y="116"/>
                      </a:cubicBezTo>
                      <a:cubicBezTo>
                        <a:pt x="6261" y="18100"/>
                        <a:pt x="-6654" y="46958"/>
                        <a:pt x="4826" y="6239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5" name="Forma libre 194">
                  <a:extLst>
                    <a:ext uri="{FF2B5EF4-FFF2-40B4-BE49-F238E27FC236}">
                      <a16:creationId xmlns:a16="http://schemas.microsoft.com/office/drawing/2014/main" id="{734EBCD0-4A44-344A-A838-BFF176FCDDB4}"/>
                    </a:ext>
                  </a:extLst>
                </p:cNvPr>
                <p:cNvSpPr/>
                <p:nvPr/>
              </p:nvSpPr>
              <p:spPr>
                <a:xfrm>
                  <a:off x="4783490" y="2033373"/>
                  <a:ext cx="57704" cy="43665"/>
                </a:xfrm>
                <a:custGeom>
                  <a:avLst/>
                  <a:gdLst>
                    <a:gd name="connsiteX0" fmla="*/ 41130 w 57704"/>
                    <a:gd name="connsiteY0" fmla="*/ 12095 h 43665"/>
                    <a:gd name="connsiteX1" fmla="*/ 57704 w 57704"/>
                    <a:gd name="connsiteY1" fmla="*/ 5605 h 43665"/>
                    <a:gd name="connsiteX2" fmla="*/ 51522 w 57704"/>
                    <a:gd name="connsiteY2" fmla="*/ 22096 h 43665"/>
                    <a:gd name="connsiteX3" fmla="*/ 46219 w 57704"/>
                    <a:gd name="connsiteY3" fmla="*/ 30032 h 43665"/>
                    <a:gd name="connsiteX4" fmla="*/ 39171 w 57704"/>
                    <a:gd name="connsiteY4" fmla="*/ 31301 h 43665"/>
                    <a:gd name="connsiteX5" fmla="*/ 437 w 57704"/>
                    <a:gd name="connsiteY5" fmla="*/ 43665 h 43665"/>
                    <a:gd name="connsiteX6" fmla="*/ 23240 w 57704"/>
                    <a:gd name="connsiteY6" fmla="*/ 11904 h 43665"/>
                    <a:gd name="connsiteX7" fmla="*/ 44971 w 57704"/>
                    <a:gd name="connsiteY7" fmla="*/ 0 h 43665"/>
                    <a:gd name="connsiteX8" fmla="*/ 41130 w 57704"/>
                    <a:gd name="connsiteY8" fmla="*/ 12095 h 436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7704" h="43665">
                      <a:moveTo>
                        <a:pt x="41130" y="12095"/>
                      </a:moveTo>
                      <a:cubicBezTo>
                        <a:pt x="45915" y="8460"/>
                        <a:pt x="51724" y="6189"/>
                        <a:pt x="57704" y="5605"/>
                      </a:cubicBezTo>
                      <a:cubicBezTo>
                        <a:pt x="55644" y="11101"/>
                        <a:pt x="53583" y="16598"/>
                        <a:pt x="51522" y="22096"/>
                      </a:cubicBezTo>
                      <a:cubicBezTo>
                        <a:pt x="50383" y="25139"/>
                        <a:pt x="49045" y="28423"/>
                        <a:pt x="46219" y="30032"/>
                      </a:cubicBezTo>
                      <a:cubicBezTo>
                        <a:pt x="44122" y="31227"/>
                        <a:pt x="41585" y="31263"/>
                        <a:pt x="39171" y="31301"/>
                      </a:cubicBezTo>
                      <a:cubicBezTo>
                        <a:pt x="25228" y="31517"/>
                        <a:pt x="9921" y="33441"/>
                        <a:pt x="437" y="43665"/>
                      </a:cubicBezTo>
                      <a:cubicBezTo>
                        <a:pt x="-2583" y="29910"/>
                        <a:pt x="10603" y="18119"/>
                        <a:pt x="23240" y="11904"/>
                      </a:cubicBezTo>
                      <a:cubicBezTo>
                        <a:pt x="30671" y="8249"/>
                        <a:pt x="38546" y="5226"/>
                        <a:pt x="44971" y="0"/>
                      </a:cubicBezTo>
                      <a:lnTo>
                        <a:pt x="41130" y="12095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6" name="Forma libre 195">
                  <a:extLst>
                    <a:ext uri="{FF2B5EF4-FFF2-40B4-BE49-F238E27FC236}">
                      <a16:creationId xmlns:a16="http://schemas.microsoft.com/office/drawing/2014/main" id="{814B90F1-7CB0-CB42-8A99-00F543FB0CB2}"/>
                    </a:ext>
                  </a:extLst>
                </p:cNvPr>
                <p:cNvSpPr/>
                <p:nvPr/>
              </p:nvSpPr>
              <p:spPr>
                <a:xfrm>
                  <a:off x="4784273" y="2405211"/>
                  <a:ext cx="32405" cy="21095"/>
                </a:xfrm>
                <a:custGeom>
                  <a:avLst/>
                  <a:gdLst>
                    <a:gd name="connsiteX0" fmla="*/ 14131 w 32405"/>
                    <a:gd name="connsiteY0" fmla="*/ 5927 h 21095"/>
                    <a:gd name="connsiteX1" fmla="*/ 32406 w 32405"/>
                    <a:gd name="connsiteY1" fmla="*/ 6934 h 21095"/>
                    <a:gd name="connsiteX2" fmla="*/ 19405 w 32405"/>
                    <a:gd name="connsiteY2" fmla="*/ 20018 h 21095"/>
                    <a:gd name="connsiteX3" fmla="*/ 0 w 32405"/>
                    <a:gd name="connsiteY3" fmla="*/ 20277 h 21095"/>
                    <a:gd name="connsiteX4" fmla="*/ 17889 w 32405"/>
                    <a:gd name="connsiteY4" fmla="*/ 0 h 21095"/>
                    <a:gd name="connsiteX5" fmla="*/ 14131 w 32405"/>
                    <a:gd name="connsiteY5" fmla="*/ 5927 h 210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2405" h="21095">
                      <a:moveTo>
                        <a:pt x="14131" y="5927"/>
                      </a:moveTo>
                      <a:cubicBezTo>
                        <a:pt x="20180" y="6779"/>
                        <a:pt x="26301" y="7117"/>
                        <a:pt x="32406" y="6934"/>
                      </a:cubicBezTo>
                      <a:cubicBezTo>
                        <a:pt x="31540" y="13390"/>
                        <a:pt x="25680" y="18266"/>
                        <a:pt x="19405" y="20018"/>
                      </a:cubicBezTo>
                      <a:cubicBezTo>
                        <a:pt x="13133" y="21769"/>
                        <a:pt x="6469" y="21031"/>
                        <a:pt x="0" y="20277"/>
                      </a:cubicBezTo>
                      <a:cubicBezTo>
                        <a:pt x="3754" y="11932"/>
                        <a:pt x="10076" y="4766"/>
                        <a:pt x="17889" y="0"/>
                      </a:cubicBezTo>
                      <a:lnTo>
                        <a:pt x="14131" y="5927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7" name="Forma libre 196">
                  <a:extLst>
                    <a:ext uri="{FF2B5EF4-FFF2-40B4-BE49-F238E27FC236}">
                      <a16:creationId xmlns:a16="http://schemas.microsoft.com/office/drawing/2014/main" id="{F5D03906-EAB3-6A46-B610-C4A4A2193FF8}"/>
                    </a:ext>
                  </a:extLst>
                </p:cNvPr>
                <p:cNvSpPr/>
                <p:nvPr/>
              </p:nvSpPr>
              <p:spPr>
                <a:xfrm>
                  <a:off x="4940218" y="3704089"/>
                  <a:ext cx="47315" cy="43930"/>
                </a:xfrm>
                <a:custGeom>
                  <a:avLst/>
                  <a:gdLst>
                    <a:gd name="connsiteX0" fmla="*/ 0 w 47315"/>
                    <a:gd name="connsiteY0" fmla="*/ 10714 h 43930"/>
                    <a:gd name="connsiteX1" fmla="*/ 6106 w 47315"/>
                    <a:gd name="connsiteY1" fmla="*/ 1161 h 43930"/>
                    <a:gd name="connsiteX2" fmla="*/ 16199 w 47315"/>
                    <a:gd name="connsiteY2" fmla="*/ 3215 h 43930"/>
                    <a:gd name="connsiteX3" fmla="*/ 17447 w 47315"/>
                    <a:gd name="connsiteY3" fmla="*/ 9776 h 43930"/>
                    <a:gd name="connsiteX4" fmla="*/ 29087 w 47315"/>
                    <a:gd name="connsiteY4" fmla="*/ 18388 h 43930"/>
                    <a:gd name="connsiteX5" fmla="*/ 46633 w 47315"/>
                    <a:gd name="connsiteY5" fmla="*/ 30291 h 43930"/>
                    <a:gd name="connsiteX6" fmla="*/ 36166 w 47315"/>
                    <a:gd name="connsiteY6" fmla="*/ 43153 h 43930"/>
                    <a:gd name="connsiteX7" fmla="*/ 29407 w 47315"/>
                    <a:gd name="connsiteY7" fmla="*/ 36855 h 43930"/>
                    <a:gd name="connsiteX8" fmla="*/ 18995 w 47315"/>
                    <a:gd name="connsiteY8" fmla="*/ 36211 h 43930"/>
                    <a:gd name="connsiteX9" fmla="*/ 5079 w 47315"/>
                    <a:gd name="connsiteY9" fmla="*/ 9311 h 43930"/>
                    <a:gd name="connsiteX10" fmla="*/ 0 w 47315"/>
                    <a:gd name="connsiteY10" fmla="*/ 10714 h 439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7315" h="43930">
                      <a:moveTo>
                        <a:pt x="0" y="10714"/>
                      </a:moveTo>
                      <a:cubicBezTo>
                        <a:pt x="1057" y="6990"/>
                        <a:pt x="2816" y="3193"/>
                        <a:pt x="6106" y="1161"/>
                      </a:cubicBezTo>
                      <a:cubicBezTo>
                        <a:pt x="9399" y="-872"/>
                        <a:pt x="14504" y="-264"/>
                        <a:pt x="16199" y="3215"/>
                      </a:cubicBezTo>
                      <a:cubicBezTo>
                        <a:pt x="17180" y="5224"/>
                        <a:pt x="16842" y="7623"/>
                        <a:pt x="17447" y="9776"/>
                      </a:cubicBezTo>
                      <a:cubicBezTo>
                        <a:pt x="18814" y="14626"/>
                        <a:pt x="24293" y="16830"/>
                        <a:pt x="29087" y="18388"/>
                      </a:cubicBezTo>
                      <a:cubicBezTo>
                        <a:pt x="36024" y="20642"/>
                        <a:pt x="43705" y="23607"/>
                        <a:pt x="46633" y="30291"/>
                      </a:cubicBezTo>
                      <a:cubicBezTo>
                        <a:pt x="49561" y="36974"/>
                        <a:pt x="42503" y="46770"/>
                        <a:pt x="36166" y="43153"/>
                      </a:cubicBezTo>
                      <a:cubicBezTo>
                        <a:pt x="33476" y="41616"/>
                        <a:pt x="32117" y="38354"/>
                        <a:pt x="29407" y="36855"/>
                      </a:cubicBezTo>
                      <a:cubicBezTo>
                        <a:pt x="26321" y="35146"/>
                        <a:pt x="22521" y="36199"/>
                        <a:pt x="18995" y="36211"/>
                      </a:cubicBezTo>
                      <a:cubicBezTo>
                        <a:pt x="6548" y="36255"/>
                        <a:pt x="-2148" y="19443"/>
                        <a:pt x="5079" y="9311"/>
                      </a:cubicBezTo>
                      <a:lnTo>
                        <a:pt x="0" y="10714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8" name="Forma libre 197">
                  <a:extLst>
                    <a:ext uri="{FF2B5EF4-FFF2-40B4-BE49-F238E27FC236}">
                      <a16:creationId xmlns:a16="http://schemas.microsoft.com/office/drawing/2014/main" id="{7034F507-033C-3449-9589-E1EFF64C44C2}"/>
                    </a:ext>
                  </a:extLst>
                </p:cNvPr>
                <p:cNvSpPr/>
                <p:nvPr/>
              </p:nvSpPr>
              <p:spPr>
                <a:xfrm>
                  <a:off x="4720508" y="3762173"/>
                  <a:ext cx="59074" cy="50212"/>
                </a:xfrm>
                <a:custGeom>
                  <a:avLst/>
                  <a:gdLst>
                    <a:gd name="connsiteX0" fmla="*/ 45451 w 59074"/>
                    <a:gd name="connsiteY0" fmla="*/ 3662 h 50212"/>
                    <a:gd name="connsiteX1" fmla="*/ 0 w 59074"/>
                    <a:gd name="connsiteY1" fmla="*/ 50212 h 50212"/>
                    <a:gd name="connsiteX2" fmla="*/ 38667 w 59074"/>
                    <a:gd name="connsiteY2" fmla="*/ 42563 h 50212"/>
                    <a:gd name="connsiteX3" fmla="*/ 58964 w 59074"/>
                    <a:gd name="connsiteY3" fmla="*/ 11234 h 50212"/>
                    <a:gd name="connsiteX4" fmla="*/ 45451 w 59074"/>
                    <a:gd name="connsiteY4" fmla="*/ 3662 h 50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074" h="50212">
                      <a:moveTo>
                        <a:pt x="45451" y="3662"/>
                      </a:moveTo>
                      <a:cubicBezTo>
                        <a:pt x="30116" y="18997"/>
                        <a:pt x="15150" y="34696"/>
                        <a:pt x="0" y="50212"/>
                      </a:cubicBezTo>
                      <a:cubicBezTo>
                        <a:pt x="13208" y="49394"/>
                        <a:pt x="26827" y="48473"/>
                        <a:pt x="38667" y="42563"/>
                      </a:cubicBezTo>
                      <a:cubicBezTo>
                        <a:pt x="50508" y="36654"/>
                        <a:pt x="60223" y="24405"/>
                        <a:pt x="58964" y="11234"/>
                      </a:cubicBezTo>
                      <a:cubicBezTo>
                        <a:pt x="58966" y="11235"/>
                        <a:pt x="56889" y="-7776"/>
                        <a:pt x="45451" y="366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9" name="Forma libre 198">
                  <a:extLst>
                    <a:ext uri="{FF2B5EF4-FFF2-40B4-BE49-F238E27FC236}">
                      <a16:creationId xmlns:a16="http://schemas.microsoft.com/office/drawing/2014/main" id="{22580042-1101-F947-AE76-985585B83970}"/>
                    </a:ext>
                  </a:extLst>
                </p:cNvPr>
                <p:cNvSpPr/>
                <p:nvPr/>
              </p:nvSpPr>
              <p:spPr>
                <a:xfrm>
                  <a:off x="4989703" y="2023199"/>
                  <a:ext cx="18071" cy="18387"/>
                </a:xfrm>
                <a:custGeom>
                  <a:avLst/>
                  <a:gdLst>
                    <a:gd name="connsiteX0" fmla="*/ 6883 w 18071"/>
                    <a:gd name="connsiteY0" fmla="*/ 0 h 18387"/>
                    <a:gd name="connsiteX1" fmla="*/ 17504 w 18071"/>
                    <a:gd name="connsiteY1" fmla="*/ 18109 h 18387"/>
                    <a:gd name="connsiteX2" fmla="*/ 0 w 18071"/>
                    <a:gd name="connsiteY2" fmla="*/ 18388 h 18387"/>
                    <a:gd name="connsiteX3" fmla="*/ 6883 w 18071"/>
                    <a:gd name="connsiteY3" fmla="*/ 0 h 18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8071" h="18387">
                      <a:moveTo>
                        <a:pt x="6883" y="0"/>
                      </a:moveTo>
                      <a:cubicBezTo>
                        <a:pt x="14596" y="1612"/>
                        <a:pt x="19862" y="10589"/>
                        <a:pt x="17504" y="18109"/>
                      </a:cubicBezTo>
                      <a:cubicBezTo>
                        <a:pt x="11670" y="18202"/>
                        <a:pt x="5834" y="18296"/>
                        <a:pt x="0" y="18388"/>
                      </a:cubicBezTo>
                      <a:lnTo>
                        <a:pt x="6883" y="0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00" name="Forma libre 199">
                  <a:extLst>
                    <a:ext uri="{FF2B5EF4-FFF2-40B4-BE49-F238E27FC236}">
                      <a16:creationId xmlns:a16="http://schemas.microsoft.com/office/drawing/2014/main" id="{75C360D3-9900-AD48-839B-BCE7BEB58172}"/>
                    </a:ext>
                  </a:extLst>
                </p:cNvPr>
                <p:cNvSpPr/>
                <p:nvPr/>
              </p:nvSpPr>
              <p:spPr>
                <a:xfrm>
                  <a:off x="7838646" y="2451777"/>
                  <a:ext cx="2380" cy="2794"/>
                </a:xfrm>
                <a:custGeom>
                  <a:avLst/>
                  <a:gdLst>
                    <a:gd name="connsiteX0" fmla="*/ 0 w 2380"/>
                    <a:gd name="connsiteY0" fmla="*/ 0 h 2794"/>
                    <a:gd name="connsiteX1" fmla="*/ 2380 w 2380"/>
                    <a:gd name="connsiteY1" fmla="*/ 2794 h 2794"/>
                    <a:gd name="connsiteX2" fmla="*/ 0 w 2380"/>
                    <a:gd name="connsiteY2" fmla="*/ 0 h 27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80" h="2794">
                      <a:moveTo>
                        <a:pt x="0" y="0"/>
                      </a:moveTo>
                      <a:cubicBezTo>
                        <a:pt x="588" y="1035"/>
                        <a:pt x="1355" y="1990"/>
                        <a:pt x="2380" y="2794"/>
                      </a:cubicBezTo>
                      <a:cubicBezTo>
                        <a:pt x="1660" y="1804"/>
                        <a:pt x="791" y="935"/>
                        <a:pt x="0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01" name="Forma libre 200">
                  <a:extLst>
                    <a:ext uri="{FF2B5EF4-FFF2-40B4-BE49-F238E27FC236}">
                      <a16:creationId xmlns:a16="http://schemas.microsoft.com/office/drawing/2014/main" id="{4F0BFC67-A0C0-7C47-9719-F7E25F78172C}"/>
                    </a:ext>
                  </a:extLst>
                </p:cNvPr>
                <p:cNvSpPr/>
                <p:nvPr/>
              </p:nvSpPr>
              <p:spPr>
                <a:xfrm>
                  <a:off x="6325846" y="4041435"/>
                  <a:ext cx="5130" cy="4162"/>
                </a:xfrm>
                <a:custGeom>
                  <a:avLst/>
                  <a:gdLst>
                    <a:gd name="connsiteX0" fmla="*/ 5130 w 5130"/>
                    <a:gd name="connsiteY0" fmla="*/ 4162 h 4162"/>
                    <a:gd name="connsiteX1" fmla="*/ 0 w 5130"/>
                    <a:gd name="connsiteY1" fmla="*/ 0 h 4162"/>
                    <a:gd name="connsiteX2" fmla="*/ 5130 w 5130"/>
                    <a:gd name="connsiteY2" fmla="*/ 4162 h 41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130" h="4162">
                      <a:moveTo>
                        <a:pt x="5130" y="4162"/>
                      </a:moveTo>
                      <a:cubicBezTo>
                        <a:pt x="3470" y="2715"/>
                        <a:pt x="1729" y="1366"/>
                        <a:pt x="0" y="0"/>
                      </a:cubicBezTo>
                      <a:cubicBezTo>
                        <a:pt x="1513" y="1604"/>
                        <a:pt x="3172" y="3068"/>
                        <a:pt x="5130" y="416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02" name="Forma libre 201">
                  <a:extLst>
                    <a:ext uri="{FF2B5EF4-FFF2-40B4-BE49-F238E27FC236}">
                      <a16:creationId xmlns:a16="http://schemas.microsoft.com/office/drawing/2014/main" id="{BF1BF2A8-CEFB-1742-8A23-70E970B32ED3}"/>
                    </a:ext>
                  </a:extLst>
                </p:cNvPr>
                <p:cNvSpPr/>
                <p:nvPr/>
              </p:nvSpPr>
              <p:spPr>
                <a:xfrm>
                  <a:off x="6073855" y="1225899"/>
                  <a:ext cx="477076" cy="883264"/>
                </a:xfrm>
                <a:custGeom>
                  <a:avLst/>
                  <a:gdLst>
                    <a:gd name="connsiteX0" fmla="*/ 455800 w 477076"/>
                    <a:gd name="connsiteY0" fmla="*/ 562674 h 883264"/>
                    <a:gd name="connsiteX1" fmla="*/ 370234 w 477076"/>
                    <a:gd name="connsiteY1" fmla="*/ 521265 h 883264"/>
                    <a:gd name="connsiteX2" fmla="*/ 378969 w 477076"/>
                    <a:gd name="connsiteY2" fmla="*/ 494621 h 883264"/>
                    <a:gd name="connsiteX3" fmla="*/ 384955 w 477076"/>
                    <a:gd name="connsiteY3" fmla="*/ 499588 h 883264"/>
                    <a:gd name="connsiteX4" fmla="*/ 396096 w 477076"/>
                    <a:gd name="connsiteY4" fmla="*/ 499836 h 883264"/>
                    <a:gd name="connsiteX5" fmla="*/ 402315 w 477076"/>
                    <a:gd name="connsiteY5" fmla="*/ 490591 h 883264"/>
                    <a:gd name="connsiteX6" fmla="*/ 391479 w 477076"/>
                    <a:gd name="connsiteY6" fmla="*/ 474407 h 883264"/>
                    <a:gd name="connsiteX7" fmla="*/ 390705 w 477076"/>
                    <a:gd name="connsiteY7" fmla="*/ 473637 h 883264"/>
                    <a:gd name="connsiteX8" fmla="*/ 345617 w 477076"/>
                    <a:gd name="connsiteY8" fmla="*/ 402773 h 883264"/>
                    <a:gd name="connsiteX9" fmla="*/ 341547 w 477076"/>
                    <a:gd name="connsiteY9" fmla="*/ 378508 h 883264"/>
                    <a:gd name="connsiteX10" fmla="*/ 345861 w 477076"/>
                    <a:gd name="connsiteY10" fmla="*/ 363437 h 883264"/>
                    <a:gd name="connsiteX11" fmla="*/ 349007 w 477076"/>
                    <a:gd name="connsiteY11" fmla="*/ 354032 h 883264"/>
                    <a:gd name="connsiteX12" fmla="*/ 344979 w 477076"/>
                    <a:gd name="connsiteY12" fmla="*/ 323156 h 883264"/>
                    <a:gd name="connsiteX13" fmla="*/ 308312 w 477076"/>
                    <a:gd name="connsiteY13" fmla="*/ 276128 h 883264"/>
                    <a:gd name="connsiteX14" fmla="*/ 307169 w 477076"/>
                    <a:gd name="connsiteY14" fmla="*/ 275309 h 883264"/>
                    <a:gd name="connsiteX15" fmla="*/ 297911 w 477076"/>
                    <a:gd name="connsiteY15" fmla="*/ 266835 h 883264"/>
                    <a:gd name="connsiteX16" fmla="*/ 293353 w 477076"/>
                    <a:gd name="connsiteY16" fmla="*/ 254810 h 883264"/>
                    <a:gd name="connsiteX17" fmla="*/ 298729 w 477076"/>
                    <a:gd name="connsiteY17" fmla="*/ 207472 h 883264"/>
                    <a:gd name="connsiteX18" fmla="*/ 300429 w 477076"/>
                    <a:gd name="connsiteY18" fmla="*/ 203793 h 883264"/>
                    <a:gd name="connsiteX19" fmla="*/ 304603 w 477076"/>
                    <a:gd name="connsiteY19" fmla="*/ 190739 h 883264"/>
                    <a:gd name="connsiteX20" fmla="*/ 287293 w 477076"/>
                    <a:gd name="connsiteY20" fmla="*/ 167861 h 883264"/>
                    <a:gd name="connsiteX21" fmla="*/ 244160 w 477076"/>
                    <a:gd name="connsiteY21" fmla="*/ 98814 h 883264"/>
                    <a:gd name="connsiteX22" fmla="*/ 261551 w 477076"/>
                    <a:gd name="connsiteY22" fmla="*/ 49095 h 883264"/>
                    <a:gd name="connsiteX23" fmla="*/ 258254 w 477076"/>
                    <a:gd name="connsiteY23" fmla="*/ 26350 h 883264"/>
                    <a:gd name="connsiteX24" fmla="*/ 243474 w 477076"/>
                    <a:gd name="connsiteY24" fmla="*/ 19687 h 883264"/>
                    <a:gd name="connsiteX25" fmla="*/ 237047 w 477076"/>
                    <a:gd name="connsiteY25" fmla="*/ 23096 h 883264"/>
                    <a:gd name="connsiteX26" fmla="*/ 233038 w 477076"/>
                    <a:gd name="connsiteY26" fmla="*/ 222 h 883264"/>
                    <a:gd name="connsiteX27" fmla="*/ 222158 w 477076"/>
                    <a:gd name="connsiteY27" fmla="*/ 3303 h 883264"/>
                    <a:gd name="connsiteX28" fmla="*/ 218787 w 477076"/>
                    <a:gd name="connsiteY28" fmla="*/ 7507 h 883264"/>
                    <a:gd name="connsiteX29" fmla="*/ 214913 w 477076"/>
                    <a:gd name="connsiteY29" fmla="*/ 12428 h 883264"/>
                    <a:gd name="connsiteX30" fmla="*/ 192013 w 477076"/>
                    <a:gd name="connsiteY30" fmla="*/ 19266 h 883264"/>
                    <a:gd name="connsiteX31" fmla="*/ 177778 w 477076"/>
                    <a:gd name="connsiteY31" fmla="*/ 12034 h 883264"/>
                    <a:gd name="connsiteX32" fmla="*/ 164083 w 477076"/>
                    <a:gd name="connsiteY32" fmla="*/ 40936 h 883264"/>
                    <a:gd name="connsiteX33" fmla="*/ 163069 w 477076"/>
                    <a:gd name="connsiteY33" fmla="*/ 49033 h 883264"/>
                    <a:gd name="connsiteX34" fmla="*/ 165605 w 477076"/>
                    <a:gd name="connsiteY34" fmla="*/ 53441 h 883264"/>
                    <a:gd name="connsiteX35" fmla="*/ 167309 w 477076"/>
                    <a:gd name="connsiteY35" fmla="*/ 55971 h 883264"/>
                    <a:gd name="connsiteX36" fmla="*/ 161643 w 477076"/>
                    <a:gd name="connsiteY36" fmla="*/ 101989 h 883264"/>
                    <a:gd name="connsiteX37" fmla="*/ 125121 w 477076"/>
                    <a:gd name="connsiteY37" fmla="*/ 127914 h 883264"/>
                    <a:gd name="connsiteX38" fmla="*/ 108083 w 477076"/>
                    <a:gd name="connsiteY38" fmla="*/ 134507 h 883264"/>
                    <a:gd name="connsiteX39" fmla="*/ 81612 w 477076"/>
                    <a:gd name="connsiteY39" fmla="*/ 127258 h 883264"/>
                    <a:gd name="connsiteX40" fmla="*/ 48232 w 477076"/>
                    <a:gd name="connsiteY40" fmla="*/ 119995 h 883264"/>
                    <a:gd name="connsiteX41" fmla="*/ 26242 w 477076"/>
                    <a:gd name="connsiteY41" fmla="*/ 96340 h 883264"/>
                    <a:gd name="connsiteX42" fmla="*/ 24633 w 477076"/>
                    <a:gd name="connsiteY42" fmla="*/ 94215 h 883264"/>
                    <a:gd name="connsiteX43" fmla="*/ 7084 w 477076"/>
                    <a:gd name="connsiteY43" fmla="*/ 81537 h 883264"/>
                    <a:gd name="connsiteX44" fmla="*/ 2140 w 477076"/>
                    <a:gd name="connsiteY44" fmla="*/ 83116 h 883264"/>
                    <a:gd name="connsiteX45" fmla="*/ 8017 w 477076"/>
                    <a:gd name="connsiteY45" fmla="*/ 105583 h 883264"/>
                    <a:gd name="connsiteX46" fmla="*/ 28722 w 477076"/>
                    <a:gd name="connsiteY46" fmla="*/ 127985 h 883264"/>
                    <a:gd name="connsiteX47" fmla="*/ 70372 w 477076"/>
                    <a:gd name="connsiteY47" fmla="*/ 158055 h 883264"/>
                    <a:gd name="connsiteX48" fmla="*/ 72222 w 477076"/>
                    <a:gd name="connsiteY48" fmla="*/ 159364 h 883264"/>
                    <a:gd name="connsiteX49" fmla="*/ 107874 w 477076"/>
                    <a:gd name="connsiteY49" fmla="*/ 222723 h 883264"/>
                    <a:gd name="connsiteX50" fmla="*/ 108916 w 477076"/>
                    <a:gd name="connsiteY50" fmla="*/ 226345 h 883264"/>
                    <a:gd name="connsiteX51" fmla="*/ 114300 w 477076"/>
                    <a:gd name="connsiteY51" fmla="*/ 240925 h 883264"/>
                    <a:gd name="connsiteX52" fmla="*/ 120291 w 477076"/>
                    <a:gd name="connsiteY52" fmla="*/ 249382 h 883264"/>
                    <a:gd name="connsiteX53" fmla="*/ 130870 w 477076"/>
                    <a:gd name="connsiteY53" fmla="*/ 272457 h 883264"/>
                    <a:gd name="connsiteX54" fmla="*/ 126725 w 477076"/>
                    <a:gd name="connsiteY54" fmla="*/ 288344 h 883264"/>
                    <a:gd name="connsiteX55" fmla="*/ 124755 w 477076"/>
                    <a:gd name="connsiteY55" fmla="*/ 302777 h 883264"/>
                    <a:gd name="connsiteX56" fmla="*/ 131592 w 477076"/>
                    <a:gd name="connsiteY56" fmla="*/ 307075 h 883264"/>
                    <a:gd name="connsiteX57" fmla="*/ 138570 w 477076"/>
                    <a:gd name="connsiteY57" fmla="*/ 310756 h 883264"/>
                    <a:gd name="connsiteX58" fmla="*/ 148175 w 477076"/>
                    <a:gd name="connsiteY58" fmla="*/ 348791 h 883264"/>
                    <a:gd name="connsiteX59" fmla="*/ 150098 w 477076"/>
                    <a:gd name="connsiteY59" fmla="*/ 376403 h 883264"/>
                    <a:gd name="connsiteX60" fmla="*/ 147365 w 477076"/>
                    <a:gd name="connsiteY60" fmla="*/ 377930 h 883264"/>
                    <a:gd name="connsiteX61" fmla="*/ 175385 w 477076"/>
                    <a:gd name="connsiteY61" fmla="*/ 395111 h 883264"/>
                    <a:gd name="connsiteX62" fmla="*/ 165062 w 477076"/>
                    <a:gd name="connsiteY62" fmla="*/ 458904 h 883264"/>
                    <a:gd name="connsiteX63" fmla="*/ 127785 w 477076"/>
                    <a:gd name="connsiteY63" fmla="*/ 501565 h 883264"/>
                    <a:gd name="connsiteX64" fmla="*/ 112609 w 477076"/>
                    <a:gd name="connsiteY64" fmla="*/ 517859 h 883264"/>
                    <a:gd name="connsiteX65" fmla="*/ 102488 w 477076"/>
                    <a:gd name="connsiteY65" fmla="*/ 547359 h 883264"/>
                    <a:gd name="connsiteX66" fmla="*/ 43150 w 477076"/>
                    <a:gd name="connsiteY66" fmla="*/ 603419 h 883264"/>
                    <a:gd name="connsiteX67" fmla="*/ 43163 w 477076"/>
                    <a:gd name="connsiteY67" fmla="*/ 740344 h 883264"/>
                    <a:gd name="connsiteX68" fmla="*/ 55491 w 477076"/>
                    <a:gd name="connsiteY68" fmla="*/ 809422 h 883264"/>
                    <a:gd name="connsiteX69" fmla="*/ 83775 w 477076"/>
                    <a:gd name="connsiteY69" fmla="*/ 821370 h 883264"/>
                    <a:gd name="connsiteX70" fmla="*/ 93982 w 477076"/>
                    <a:gd name="connsiteY70" fmla="*/ 846554 h 883264"/>
                    <a:gd name="connsiteX71" fmla="*/ 126671 w 477076"/>
                    <a:gd name="connsiteY71" fmla="*/ 870647 h 883264"/>
                    <a:gd name="connsiteX72" fmla="*/ 162782 w 477076"/>
                    <a:gd name="connsiteY72" fmla="*/ 878072 h 883264"/>
                    <a:gd name="connsiteX73" fmla="*/ 171508 w 477076"/>
                    <a:gd name="connsiteY73" fmla="*/ 857775 h 883264"/>
                    <a:gd name="connsiteX74" fmla="*/ 201870 w 477076"/>
                    <a:gd name="connsiteY74" fmla="*/ 846717 h 883264"/>
                    <a:gd name="connsiteX75" fmla="*/ 226163 w 477076"/>
                    <a:gd name="connsiteY75" fmla="*/ 833637 h 883264"/>
                    <a:gd name="connsiteX76" fmla="*/ 307798 w 477076"/>
                    <a:gd name="connsiteY76" fmla="*/ 809539 h 883264"/>
                    <a:gd name="connsiteX77" fmla="*/ 346923 w 477076"/>
                    <a:gd name="connsiteY77" fmla="*/ 791304 h 883264"/>
                    <a:gd name="connsiteX78" fmla="*/ 342131 w 477076"/>
                    <a:gd name="connsiteY78" fmla="*/ 788544 h 883264"/>
                    <a:gd name="connsiteX79" fmla="*/ 391426 w 477076"/>
                    <a:gd name="connsiteY79" fmla="*/ 702959 h 883264"/>
                    <a:gd name="connsiteX80" fmla="*/ 402779 w 477076"/>
                    <a:gd name="connsiteY80" fmla="*/ 690017 h 883264"/>
                    <a:gd name="connsiteX81" fmla="*/ 411225 w 477076"/>
                    <a:gd name="connsiteY81" fmla="*/ 686706 h 883264"/>
                    <a:gd name="connsiteX82" fmla="*/ 418843 w 477076"/>
                    <a:gd name="connsiteY82" fmla="*/ 683340 h 883264"/>
                    <a:gd name="connsiteX83" fmla="*/ 417292 w 477076"/>
                    <a:gd name="connsiteY83" fmla="*/ 680626 h 883264"/>
                    <a:gd name="connsiteX84" fmla="*/ 413945 w 477076"/>
                    <a:gd name="connsiteY84" fmla="*/ 674202 h 883264"/>
                    <a:gd name="connsiteX85" fmla="*/ 416934 w 477076"/>
                    <a:gd name="connsiteY85" fmla="*/ 661897 h 883264"/>
                    <a:gd name="connsiteX86" fmla="*/ 453954 w 477076"/>
                    <a:gd name="connsiteY86" fmla="*/ 604254 h 883264"/>
                    <a:gd name="connsiteX87" fmla="*/ 477068 w 477076"/>
                    <a:gd name="connsiteY87" fmla="*/ 584501 h 883264"/>
                    <a:gd name="connsiteX88" fmla="*/ 455800 w 477076"/>
                    <a:gd name="connsiteY88" fmla="*/ 562674 h 883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</a:cxnLst>
                  <a:rect l="l" t="t" r="r" b="b"/>
                  <a:pathLst>
                    <a:path w="477076" h="883264">
                      <a:moveTo>
                        <a:pt x="455800" y="562674"/>
                      </a:moveTo>
                      <a:lnTo>
                        <a:pt x="370234" y="521265"/>
                      </a:lnTo>
                      <a:lnTo>
                        <a:pt x="378969" y="494621"/>
                      </a:lnTo>
                      <a:lnTo>
                        <a:pt x="384955" y="499588"/>
                      </a:lnTo>
                      <a:cubicBezTo>
                        <a:pt x="388244" y="502315"/>
                        <a:pt x="393027" y="501427"/>
                        <a:pt x="396096" y="499836"/>
                      </a:cubicBezTo>
                      <a:cubicBezTo>
                        <a:pt x="399177" y="498235"/>
                        <a:pt x="402657" y="494857"/>
                        <a:pt x="402315" y="490591"/>
                      </a:cubicBezTo>
                      <a:cubicBezTo>
                        <a:pt x="401858" y="484687"/>
                        <a:pt x="396584" y="479463"/>
                        <a:pt x="391479" y="474407"/>
                      </a:cubicBezTo>
                      <a:lnTo>
                        <a:pt x="390705" y="473637"/>
                      </a:lnTo>
                      <a:cubicBezTo>
                        <a:pt x="370732" y="453793"/>
                        <a:pt x="355136" y="429289"/>
                        <a:pt x="345617" y="402773"/>
                      </a:cubicBezTo>
                      <a:cubicBezTo>
                        <a:pt x="342923" y="395243"/>
                        <a:pt x="340566" y="387094"/>
                        <a:pt x="341547" y="378508"/>
                      </a:cubicBezTo>
                      <a:cubicBezTo>
                        <a:pt x="342159" y="373068"/>
                        <a:pt x="344035" y="368172"/>
                        <a:pt x="345861" y="363437"/>
                      </a:cubicBezTo>
                      <a:cubicBezTo>
                        <a:pt x="347108" y="360190"/>
                        <a:pt x="348285" y="357125"/>
                        <a:pt x="349007" y="354032"/>
                      </a:cubicBezTo>
                      <a:cubicBezTo>
                        <a:pt x="351041" y="345343"/>
                        <a:pt x="349679" y="334958"/>
                        <a:pt x="344979" y="323156"/>
                      </a:cubicBezTo>
                      <a:cubicBezTo>
                        <a:pt x="337558" y="304557"/>
                        <a:pt x="324545" y="287859"/>
                        <a:pt x="308312" y="276128"/>
                      </a:cubicBezTo>
                      <a:lnTo>
                        <a:pt x="307169" y="275309"/>
                      </a:lnTo>
                      <a:cubicBezTo>
                        <a:pt x="304041" y="273073"/>
                        <a:pt x="300483" y="270539"/>
                        <a:pt x="297911" y="266835"/>
                      </a:cubicBezTo>
                      <a:cubicBezTo>
                        <a:pt x="295162" y="262898"/>
                        <a:pt x="294031" y="258342"/>
                        <a:pt x="293353" y="254810"/>
                      </a:cubicBezTo>
                      <a:cubicBezTo>
                        <a:pt x="290265" y="239004"/>
                        <a:pt x="292178" y="222186"/>
                        <a:pt x="298729" y="207472"/>
                      </a:cubicBezTo>
                      <a:lnTo>
                        <a:pt x="300429" y="203793"/>
                      </a:lnTo>
                      <a:cubicBezTo>
                        <a:pt x="302587" y="199241"/>
                        <a:pt x="304623" y="194943"/>
                        <a:pt x="304603" y="190739"/>
                      </a:cubicBezTo>
                      <a:cubicBezTo>
                        <a:pt x="304555" y="181799"/>
                        <a:pt x="295387" y="174394"/>
                        <a:pt x="287293" y="167861"/>
                      </a:cubicBezTo>
                      <a:cubicBezTo>
                        <a:pt x="260039" y="145865"/>
                        <a:pt x="245528" y="122641"/>
                        <a:pt x="244160" y="98814"/>
                      </a:cubicBezTo>
                      <a:cubicBezTo>
                        <a:pt x="243166" y="81544"/>
                        <a:pt x="249607" y="63599"/>
                        <a:pt x="261551" y="49095"/>
                      </a:cubicBezTo>
                      <a:cubicBezTo>
                        <a:pt x="261699" y="41500"/>
                        <a:pt x="261844" y="32931"/>
                        <a:pt x="258254" y="26350"/>
                      </a:cubicBezTo>
                      <a:cubicBezTo>
                        <a:pt x="255411" y="21152"/>
                        <a:pt x="248328" y="17141"/>
                        <a:pt x="243474" y="19687"/>
                      </a:cubicBezTo>
                      <a:lnTo>
                        <a:pt x="237047" y="23096"/>
                      </a:lnTo>
                      <a:lnTo>
                        <a:pt x="233038" y="222"/>
                      </a:lnTo>
                      <a:cubicBezTo>
                        <a:pt x="229163" y="-520"/>
                        <a:pt x="224931" y="619"/>
                        <a:pt x="222158" y="3303"/>
                      </a:cubicBezTo>
                      <a:cubicBezTo>
                        <a:pt x="220866" y="4550"/>
                        <a:pt x="219842" y="6037"/>
                        <a:pt x="218787" y="7507"/>
                      </a:cubicBezTo>
                      <a:cubicBezTo>
                        <a:pt x="217569" y="9213"/>
                        <a:pt x="216341" y="10908"/>
                        <a:pt x="214913" y="12428"/>
                      </a:cubicBezTo>
                      <a:cubicBezTo>
                        <a:pt x="209384" y="18294"/>
                        <a:pt x="200816" y="20844"/>
                        <a:pt x="192013" y="19266"/>
                      </a:cubicBezTo>
                      <a:cubicBezTo>
                        <a:pt x="186380" y="18254"/>
                        <a:pt x="181438" y="15694"/>
                        <a:pt x="177778" y="12034"/>
                      </a:cubicBezTo>
                      <a:cubicBezTo>
                        <a:pt x="171919" y="20994"/>
                        <a:pt x="167316" y="30689"/>
                        <a:pt x="164083" y="40936"/>
                      </a:cubicBezTo>
                      <a:cubicBezTo>
                        <a:pt x="163173" y="43828"/>
                        <a:pt x="162421" y="46814"/>
                        <a:pt x="163069" y="49033"/>
                      </a:cubicBezTo>
                      <a:cubicBezTo>
                        <a:pt x="163472" y="50384"/>
                        <a:pt x="164507" y="51871"/>
                        <a:pt x="165605" y="53441"/>
                      </a:cubicBezTo>
                      <a:cubicBezTo>
                        <a:pt x="166190" y="54280"/>
                        <a:pt x="166775" y="55114"/>
                        <a:pt x="167309" y="55971"/>
                      </a:cubicBezTo>
                      <a:cubicBezTo>
                        <a:pt x="176784" y="71110"/>
                        <a:pt x="171012" y="90438"/>
                        <a:pt x="161643" y="101989"/>
                      </a:cubicBezTo>
                      <a:cubicBezTo>
                        <a:pt x="151795" y="114149"/>
                        <a:pt x="137629" y="121459"/>
                        <a:pt x="125121" y="127914"/>
                      </a:cubicBezTo>
                      <a:cubicBezTo>
                        <a:pt x="120115" y="130496"/>
                        <a:pt x="114437" y="133424"/>
                        <a:pt x="108083" y="134507"/>
                      </a:cubicBezTo>
                      <a:cubicBezTo>
                        <a:pt x="98695" y="136103"/>
                        <a:pt x="88858" y="133353"/>
                        <a:pt x="81612" y="127258"/>
                      </a:cubicBezTo>
                      <a:cubicBezTo>
                        <a:pt x="71230" y="130170"/>
                        <a:pt x="58747" y="127538"/>
                        <a:pt x="48232" y="119995"/>
                      </a:cubicBezTo>
                      <a:cubicBezTo>
                        <a:pt x="39216" y="113537"/>
                        <a:pt x="32625" y="104793"/>
                        <a:pt x="26242" y="96340"/>
                      </a:cubicBezTo>
                      <a:lnTo>
                        <a:pt x="24633" y="94215"/>
                      </a:lnTo>
                      <a:cubicBezTo>
                        <a:pt x="19336" y="87233"/>
                        <a:pt x="12119" y="82022"/>
                        <a:pt x="7084" y="81537"/>
                      </a:cubicBezTo>
                      <a:cubicBezTo>
                        <a:pt x="5111" y="81344"/>
                        <a:pt x="3552" y="81852"/>
                        <a:pt x="2140" y="83116"/>
                      </a:cubicBezTo>
                      <a:cubicBezTo>
                        <a:pt x="-3283" y="87976"/>
                        <a:pt x="2686" y="99216"/>
                        <a:pt x="8017" y="105583"/>
                      </a:cubicBezTo>
                      <a:cubicBezTo>
                        <a:pt x="14524" y="113348"/>
                        <a:pt x="21491" y="120888"/>
                        <a:pt x="28722" y="127985"/>
                      </a:cubicBezTo>
                      <a:cubicBezTo>
                        <a:pt x="44040" y="143043"/>
                        <a:pt x="56883" y="152318"/>
                        <a:pt x="70372" y="158055"/>
                      </a:cubicBezTo>
                      <a:lnTo>
                        <a:pt x="72222" y="159364"/>
                      </a:lnTo>
                      <a:cubicBezTo>
                        <a:pt x="88617" y="177429"/>
                        <a:pt x="100945" y="199336"/>
                        <a:pt x="107874" y="222723"/>
                      </a:cubicBezTo>
                      <a:lnTo>
                        <a:pt x="108916" y="226345"/>
                      </a:lnTo>
                      <a:cubicBezTo>
                        <a:pt x="110424" y="231614"/>
                        <a:pt x="111836" y="236594"/>
                        <a:pt x="114300" y="240925"/>
                      </a:cubicBezTo>
                      <a:cubicBezTo>
                        <a:pt x="115904" y="243747"/>
                        <a:pt x="118036" y="246487"/>
                        <a:pt x="120291" y="249382"/>
                      </a:cubicBezTo>
                      <a:cubicBezTo>
                        <a:pt x="125283" y="255800"/>
                        <a:pt x="130942" y="263068"/>
                        <a:pt x="130870" y="272457"/>
                      </a:cubicBezTo>
                      <a:cubicBezTo>
                        <a:pt x="130818" y="278093"/>
                        <a:pt x="128644" y="283535"/>
                        <a:pt x="126725" y="288344"/>
                      </a:cubicBezTo>
                      <a:cubicBezTo>
                        <a:pt x="123995" y="295195"/>
                        <a:pt x="122434" y="299556"/>
                        <a:pt x="124755" y="302777"/>
                      </a:cubicBezTo>
                      <a:cubicBezTo>
                        <a:pt x="126072" y="304609"/>
                        <a:pt x="128636" y="305753"/>
                        <a:pt x="131592" y="307075"/>
                      </a:cubicBezTo>
                      <a:cubicBezTo>
                        <a:pt x="133906" y="308102"/>
                        <a:pt x="136295" y="309170"/>
                        <a:pt x="138570" y="310756"/>
                      </a:cubicBezTo>
                      <a:cubicBezTo>
                        <a:pt x="151297" y="319648"/>
                        <a:pt x="149634" y="335135"/>
                        <a:pt x="148175" y="348791"/>
                      </a:cubicBezTo>
                      <a:cubicBezTo>
                        <a:pt x="147101" y="358765"/>
                        <a:pt x="145998" y="369080"/>
                        <a:pt x="150098" y="376403"/>
                      </a:cubicBezTo>
                      <a:lnTo>
                        <a:pt x="147365" y="377930"/>
                      </a:lnTo>
                      <a:cubicBezTo>
                        <a:pt x="158245" y="381367"/>
                        <a:pt x="168839" y="386031"/>
                        <a:pt x="175385" y="395111"/>
                      </a:cubicBezTo>
                      <a:cubicBezTo>
                        <a:pt x="188859" y="413794"/>
                        <a:pt x="178287" y="440042"/>
                        <a:pt x="165062" y="458904"/>
                      </a:cubicBezTo>
                      <a:cubicBezTo>
                        <a:pt x="154202" y="474395"/>
                        <a:pt x="141681" y="488724"/>
                        <a:pt x="127785" y="501565"/>
                      </a:cubicBezTo>
                      <a:cubicBezTo>
                        <a:pt x="122315" y="506620"/>
                        <a:pt x="116550" y="511540"/>
                        <a:pt x="112609" y="517859"/>
                      </a:cubicBezTo>
                      <a:cubicBezTo>
                        <a:pt x="107086" y="526712"/>
                        <a:pt x="105668" y="537421"/>
                        <a:pt x="102488" y="547359"/>
                      </a:cubicBezTo>
                      <a:cubicBezTo>
                        <a:pt x="93833" y="574406"/>
                        <a:pt x="70646" y="596314"/>
                        <a:pt x="43150" y="603419"/>
                      </a:cubicBezTo>
                      <a:cubicBezTo>
                        <a:pt x="50731" y="648641"/>
                        <a:pt x="50737" y="695122"/>
                        <a:pt x="43163" y="740344"/>
                      </a:cubicBezTo>
                      <a:cubicBezTo>
                        <a:pt x="39068" y="764805"/>
                        <a:pt x="35087" y="795323"/>
                        <a:pt x="55491" y="809422"/>
                      </a:cubicBezTo>
                      <a:cubicBezTo>
                        <a:pt x="63935" y="815254"/>
                        <a:pt x="74749" y="816489"/>
                        <a:pt x="83775" y="821370"/>
                      </a:cubicBezTo>
                      <a:cubicBezTo>
                        <a:pt x="92803" y="826253"/>
                        <a:pt x="99954" y="838207"/>
                        <a:pt x="93982" y="846554"/>
                      </a:cubicBezTo>
                      <a:cubicBezTo>
                        <a:pt x="107984" y="846565"/>
                        <a:pt x="117305" y="860238"/>
                        <a:pt x="126671" y="870647"/>
                      </a:cubicBezTo>
                      <a:cubicBezTo>
                        <a:pt x="136038" y="881056"/>
                        <a:pt x="153877" y="888879"/>
                        <a:pt x="162782" y="878072"/>
                      </a:cubicBezTo>
                      <a:cubicBezTo>
                        <a:pt x="167496" y="872352"/>
                        <a:pt x="167120" y="863750"/>
                        <a:pt x="171508" y="857775"/>
                      </a:cubicBezTo>
                      <a:cubicBezTo>
                        <a:pt x="178045" y="848877"/>
                        <a:pt x="191254" y="849747"/>
                        <a:pt x="201870" y="846717"/>
                      </a:cubicBezTo>
                      <a:cubicBezTo>
                        <a:pt x="210749" y="844183"/>
                        <a:pt x="218332" y="838527"/>
                        <a:pt x="226163" y="833637"/>
                      </a:cubicBezTo>
                      <a:cubicBezTo>
                        <a:pt x="250525" y="818424"/>
                        <a:pt x="279077" y="809997"/>
                        <a:pt x="307798" y="809539"/>
                      </a:cubicBezTo>
                      <a:cubicBezTo>
                        <a:pt x="310469" y="793183"/>
                        <a:pt x="328985" y="789459"/>
                        <a:pt x="346923" y="791304"/>
                      </a:cubicBezTo>
                      <a:lnTo>
                        <a:pt x="342131" y="788544"/>
                      </a:lnTo>
                      <a:lnTo>
                        <a:pt x="391426" y="702959"/>
                      </a:lnTo>
                      <a:cubicBezTo>
                        <a:pt x="393815" y="698808"/>
                        <a:pt x="397082" y="693121"/>
                        <a:pt x="402779" y="690017"/>
                      </a:cubicBezTo>
                      <a:cubicBezTo>
                        <a:pt x="405394" y="688586"/>
                        <a:pt x="408357" y="687633"/>
                        <a:pt x="411225" y="686706"/>
                      </a:cubicBezTo>
                      <a:cubicBezTo>
                        <a:pt x="413668" y="685916"/>
                        <a:pt x="418220" y="684446"/>
                        <a:pt x="418843" y="683340"/>
                      </a:cubicBezTo>
                      <a:cubicBezTo>
                        <a:pt x="418713" y="682555"/>
                        <a:pt x="417961" y="681531"/>
                        <a:pt x="417292" y="680626"/>
                      </a:cubicBezTo>
                      <a:cubicBezTo>
                        <a:pt x="416070" y="678986"/>
                        <a:pt x="414565" y="676943"/>
                        <a:pt x="413945" y="674202"/>
                      </a:cubicBezTo>
                      <a:cubicBezTo>
                        <a:pt x="412789" y="669065"/>
                        <a:pt x="415383" y="664578"/>
                        <a:pt x="416934" y="661897"/>
                      </a:cubicBezTo>
                      <a:cubicBezTo>
                        <a:pt x="428157" y="642472"/>
                        <a:pt x="439775" y="622388"/>
                        <a:pt x="453954" y="604254"/>
                      </a:cubicBezTo>
                      <a:cubicBezTo>
                        <a:pt x="459927" y="596608"/>
                        <a:pt x="467292" y="588442"/>
                        <a:pt x="477068" y="584501"/>
                      </a:cubicBezTo>
                      <a:cubicBezTo>
                        <a:pt x="477502" y="574062"/>
                        <a:pt x="461158" y="565265"/>
                        <a:pt x="455800" y="562674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grpSp>
              <p:nvGrpSpPr>
                <p:cNvPr id="203" name="Gráfico 16">
                  <a:extLst>
                    <a:ext uri="{FF2B5EF4-FFF2-40B4-BE49-F238E27FC236}">
                      <a16:creationId xmlns:a16="http://schemas.microsoft.com/office/drawing/2014/main" id="{FCC1FEE4-8DE7-7448-8A2F-DEE956E5BDBD}"/>
                    </a:ext>
                  </a:extLst>
                </p:cNvPr>
                <p:cNvGrpSpPr/>
                <p:nvPr/>
              </p:nvGrpSpPr>
              <p:grpSpPr>
                <a:xfrm>
                  <a:off x="6113793" y="2112049"/>
                  <a:ext cx="363475" cy="333736"/>
                  <a:chOff x="6113793" y="2112049"/>
                  <a:chExt cx="363475" cy="333736"/>
                </a:xfrm>
                <a:grpFill/>
              </p:grpSpPr>
              <p:sp>
                <p:nvSpPr>
                  <p:cNvPr id="231" name="Forma libre 230">
                    <a:extLst>
                      <a:ext uri="{FF2B5EF4-FFF2-40B4-BE49-F238E27FC236}">
                        <a16:creationId xmlns:a16="http://schemas.microsoft.com/office/drawing/2014/main" id="{472449C3-D885-4340-B6E7-F5E3D3138D02}"/>
                      </a:ext>
                    </a:extLst>
                  </p:cNvPr>
                  <p:cNvSpPr/>
                  <p:nvPr/>
                </p:nvSpPr>
                <p:spPr>
                  <a:xfrm>
                    <a:off x="6113793" y="2265136"/>
                    <a:ext cx="363475" cy="180649"/>
                  </a:xfrm>
                  <a:custGeom>
                    <a:avLst/>
                    <a:gdLst>
                      <a:gd name="connsiteX0" fmla="*/ 358906 w 363475"/>
                      <a:gd name="connsiteY0" fmla="*/ 118688 h 180649"/>
                      <a:gd name="connsiteX1" fmla="*/ 357889 w 363475"/>
                      <a:gd name="connsiteY1" fmla="*/ 96231 h 180649"/>
                      <a:gd name="connsiteX2" fmla="*/ 354995 w 363475"/>
                      <a:gd name="connsiteY2" fmla="*/ 77263 h 180649"/>
                      <a:gd name="connsiteX3" fmla="*/ 352969 w 363475"/>
                      <a:gd name="connsiteY3" fmla="*/ 75955 h 180649"/>
                      <a:gd name="connsiteX4" fmla="*/ 346179 w 363475"/>
                      <a:gd name="connsiteY4" fmla="*/ 69495 h 180649"/>
                      <a:gd name="connsiteX5" fmla="*/ 346842 w 363475"/>
                      <a:gd name="connsiteY5" fmla="*/ 56090 h 180649"/>
                      <a:gd name="connsiteX6" fmla="*/ 336607 w 363475"/>
                      <a:gd name="connsiteY6" fmla="*/ 17061 h 180649"/>
                      <a:gd name="connsiteX7" fmla="*/ 336034 w 363475"/>
                      <a:gd name="connsiteY7" fmla="*/ 18811 h 180649"/>
                      <a:gd name="connsiteX8" fmla="*/ 292058 w 363475"/>
                      <a:gd name="connsiteY8" fmla="*/ 13752 h 180649"/>
                      <a:gd name="connsiteX9" fmla="*/ 280637 w 363475"/>
                      <a:gd name="connsiteY9" fmla="*/ 19075 h 180649"/>
                      <a:gd name="connsiteX10" fmla="*/ 270363 w 363475"/>
                      <a:gd name="connsiteY10" fmla="*/ 24090 h 180649"/>
                      <a:gd name="connsiteX11" fmla="*/ 257165 w 363475"/>
                      <a:gd name="connsiteY11" fmla="*/ 26837 h 180649"/>
                      <a:gd name="connsiteX12" fmla="*/ 241819 w 363475"/>
                      <a:gd name="connsiteY12" fmla="*/ 21723 h 180649"/>
                      <a:gd name="connsiteX13" fmla="*/ 233990 w 363475"/>
                      <a:gd name="connsiteY13" fmla="*/ 10663 h 180649"/>
                      <a:gd name="connsiteX14" fmla="*/ 228718 w 363475"/>
                      <a:gd name="connsiteY14" fmla="*/ 2801 h 180649"/>
                      <a:gd name="connsiteX15" fmla="*/ 213373 w 363475"/>
                      <a:gd name="connsiteY15" fmla="*/ 567 h 180649"/>
                      <a:gd name="connsiteX16" fmla="*/ 206640 w 363475"/>
                      <a:gd name="connsiteY16" fmla="*/ 2123 h 180649"/>
                      <a:gd name="connsiteX17" fmla="*/ 192251 w 363475"/>
                      <a:gd name="connsiteY17" fmla="*/ 4609 h 180649"/>
                      <a:gd name="connsiteX18" fmla="*/ 181310 w 363475"/>
                      <a:gd name="connsiteY18" fmla="*/ 3506 h 180649"/>
                      <a:gd name="connsiteX19" fmla="*/ 159153 w 363475"/>
                      <a:gd name="connsiteY19" fmla="*/ 89488 h 180649"/>
                      <a:gd name="connsiteX20" fmla="*/ 111875 w 363475"/>
                      <a:gd name="connsiteY20" fmla="*/ 49437 h 180649"/>
                      <a:gd name="connsiteX21" fmla="*/ 60423 w 363475"/>
                      <a:gd name="connsiteY21" fmla="*/ 18175 h 180649"/>
                      <a:gd name="connsiteX22" fmla="*/ 17552 w 363475"/>
                      <a:gd name="connsiteY22" fmla="*/ 93547 h 180649"/>
                      <a:gd name="connsiteX23" fmla="*/ 2438 w 363475"/>
                      <a:gd name="connsiteY23" fmla="*/ 117575 h 180649"/>
                      <a:gd name="connsiteX24" fmla="*/ 0 w 363475"/>
                      <a:gd name="connsiteY24" fmla="*/ 130834 h 180649"/>
                      <a:gd name="connsiteX25" fmla="*/ 142 w 363475"/>
                      <a:gd name="connsiteY25" fmla="*/ 130668 h 180649"/>
                      <a:gd name="connsiteX26" fmla="*/ 18444 w 363475"/>
                      <a:gd name="connsiteY26" fmla="*/ 125653 h 180649"/>
                      <a:gd name="connsiteX27" fmla="*/ 48383 w 363475"/>
                      <a:gd name="connsiteY27" fmla="*/ 115702 h 180649"/>
                      <a:gd name="connsiteX28" fmla="*/ 55720 w 363475"/>
                      <a:gd name="connsiteY28" fmla="*/ 120285 h 180649"/>
                      <a:gd name="connsiteX29" fmla="*/ 59869 w 363475"/>
                      <a:gd name="connsiteY29" fmla="*/ 123126 h 180649"/>
                      <a:gd name="connsiteX30" fmla="*/ 82161 w 363475"/>
                      <a:gd name="connsiteY30" fmla="*/ 116597 h 180649"/>
                      <a:gd name="connsiteX31" fmla="*/ 90120 w 363475"/>
                      <a:gd name="connsiteY31" fmla="*/ 112023 h 180649"/>
                      <a:gd name="connsiteX32" fmla="*/ 151605 w 363475"/>
                      <a:gd name="connsiteY32" fmla="*/ 108572 h 180649"/>
                      <a:gd name="connsiteX33" fmla="*/ 242036 w 363475"/>
                      <a:gd name="connsiteY33" fmla="*/ 146334 h 180649"/>
                      <a:gd name="connsiteX34" fmla="*/ 242892 w 363475"/>
                      <a:gd name="connsiteY34" fmla="*/ 147326 h 180649"/>
                      <a:gd name="connsiteX35" fmla="*/ 249077 w 363475"/>
                      <a:gd name="connsiteY35" fmla="*/ 152607 h 180649"/>
                      <a:gd name="connsiteX36" fmla="*/ 253647 w 363475"/>
                      <a:gd name="connsiteY36" fmla="*/ 152531 h 180649"/>
                      <a:gd name="connsiteX37" fmla="*/ 259374 w 363475"/>
                      <a:gd name="connsiteY37" fmla="*/ 152287 h 180649"/>
                      <a:gd name="connsiteX38" fmla="*/ 279714 w 363475"/>
                      <a:gd name="connsiteY38" fmla="*/ 168125 h 180649"/>
                      <a:gd name="connsiteX39" fmla="*/ 290713 w 363475"/>
                      <a:gd name="connsiteY39" fmla="*/ 179726 h 180649"/>
                      <a:gd name="connsiteX40" fmla="*/ 310227 w 363475"/>
                      <a:gd name="connsiteY40" fmla="*/ 176394 h 180649"/>
                      <a:gd name="connsiteX41" fmla="*/ 326995 w 363475"/>
                      <a:gd name="connsiteY41" fmla="*/ 171257 h 180649"/>
                      <a:gd name="connsiteX42" fmla="*/ 335683 w 363475"/>
                      <a:gd name="connsiteY42" fmla="*/ 171113 h 180649"/>
                      <a:gd name="connsiteX43" fmla="*/ 347691 w 363475"/>
                      <a:gd name="connsiteY43" fmla="*/ 169442 h 180649"/>
                      <a:gd name="connsiteX44" fmla="*/ 352971 w 363475"/>
                      <a:gd name="connsiteY44" fmla="*/ 151095 h 180649"/>
                      <a:gd name="connsiteX45" fmla="*/ 353317 w 363475"/>
                      <a:gd name="connsiteY45" fmla="*/ 144684 h 180649"/>
                      <a:gd name="connsiteX46" fmla="*/ 363476 w 363475"/>
                      <a:gd name="connsiteY46" fmla="*/ 126274 h 180649"/>
                      <a:gd name="connsiteX47" fmla="*/ 358906 w 363475"/>
                      <a:gd name="connsiteY47" fmla="*/ 118688 h 1806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</a:cxnLst>
                    <a:rect l="l" t="t" r="r" b="b"/>
                    <a:pathLst>
                      <a:path w="363475" h="180649">
                        <a:moveTo>
                          <a:pt x="358906" y="118688"/>
                        </a:moveTo>
                        <a:cubicBezTo>
                          <a:pt x="356163" y="111454"/>
                          <a:pt x="357074" y="103364"/>
                          <a:pt x="357889" y="96231"/>
                        </a:cubicBezTo>
                        <a:cubicBezTo>
                          <a:pt x="358965" y="86661"/>
                          <a:pt x="359407" y="80627"/>
                          <a:pt x="354995" y="77263"/>
                        </a:cubicBezTo>
                        <a:cubicBezTo>
                          <a:pt x="354361" y="76781"/>
                          <a:pt x="353665" y="76373"/>
                          <a:pt x="352969" y="75955"/>
                        </a:cubicBezTo>
                        <a:cubicBezTo>
                          <a:pt x="350684" y="74571"/>
                          <a:pt x="347828" y="72850"/>
                          <a:pt x="346179" y="69495"/>
                        </a:cubicBezTo>
                        <a:cubicBezTo>
                          <a:pt x="343774" y="64610"/>
                          <a:pt x="345546" y="59684"/>
                          <a:pt x="346842" y="56090"/>
                        </a:cubicBezTo>
                        <a:cubicBezTo>
                          <a:pt x="351672" y="42478"/>
                          <a:pt x="347972" y="24787"/>
                          <a:pt x="336607" y="17061"/>
                        </a:cubicBezTo>
                        <a:lnTo>
                          <a:pt x="336034" y="18811"/>
                        </a:lnTo>
                        <a:cubicBezTo>
                          <a:pt x="319795" y="13482"/>
                          <a:pt x="305295" y="9428"/>
                          <a:pt x="292058" y="13752"/>
                        </a:cubicBezTo>
                        <a:cubicBezTo>
                          <a:pt x="288211" y="15007"/>
                          <a:pt x="284533" y="16983"/>
                          <a:pt x="280637" y="19075"/>
                        </a:cubicBezTo>
                        <a:cubicBezTo>
                          <a:pt x="277269" y="20880"/>
                          <a:pt x="273900" y="22679"/>
                          <a:pt x="270363" y="24090"/>
                        </a:cubicBezTo>
                        <a:cubicBezTo>
                          <a:pt x="265836" y="25899"/>
                          <a:pt x="261344" y="26805"/>
                          <a:pt x="257165" y="26837"/>
                        </a:cubicBezTo>
                        <a:cubicBezTo>
                          <a:pt x="251219" y="26881"/>
                          <a:pt x="245869" y="25157"/>
                          <a:pt x="241819" y="21723"/>
                        </a:cubicBezTo>
                        <a:cubicBezTo>
                          <a:pt x="238081" y="18556"/>
                          <a:pt x="235910" y="14362"/>
                          <a:pt x="233990" y="10663"/>
                        </a:cubicBezTo>
                        <a:cubicBezTo>
                          <a:pt x="232384" y="7557"/>
                          <a:pt x="230862" y="4621"/>
                          <a:pt x="228718" y="2801"/>
                        </a:cubicBezTo>
                        <a:cubicBezTo>
                          <a:pt x="224428" y="-829"/>
                          <a:pt x="217278" y="-145"/>
                          <a:pt x="213373" y="567"/>
                        </a:cubicBezTo>
                        <a:cubicBezTo>
                          <a:pt x="211121" y="987"/>
                          <a:pt x="208879" y="1558"/>
                          <a:pt x="206640" y="2123"/>
                        </a:cubicBezTo>
                        <a:cubicBezTo>
                          <a:pt x="202067" y="3280"/>
                          <a:pt x="197331" y="4474"/>
                          <a:pt x="192251" y="4609"/>
                        </a:cubicBezTo>
                        <a:cubicBezTo>
                          <a:pt x="188430" y="4706"/>
                          <a:pt x="184834" y="4153"/>
                          <a:pt x="181310" y="3506"/>
                        </a:cubicBezTo>
                        <a:cubicBezTo>
                          <a:pt x="180718" y="33378"/>
                          <a:pt x="173202" y="63113"/>
                          <a:pt x="159153" y="89488"/>
                        </a:cubicBezTo>
                        <a:cubicBezTo>
                          <a:pt x="137757" y="88016"/>
                          <a:pt x="123886" y="67205"/>
                          <a:pt x="111875" y="49437"/>
                        </a:cubicBezTo>
                        <a:cubicBezTo>
                          <a:pt x="99865" y="31670"/>
                          <a:pt x="81206" y="12883"/>
                          <a:pt x="60423" y="18175"/>
                        </a:cubicBezTo>
                        <a:cubicBezTo>
                          <a:pt x="31205" y="25613"/>
                          <a:pt x="32912" y="67602"/>
                          <a:pt x="17552" y="93547"/>
                        </a:cubicBezTo>
                        <a:cubicBezTo>
                          <a:pt x="12720" y="101712"/>
                          <a:pt x="5745" y="108683"/>
                          <a:pt x="2438" y="117575"/>
                        </a:cubicBezTo>
                        <a:cubicBezTo>
                          <a:pt x="864" y="121810"/>
                          <a:pt x="229" y="126306"/>
                          <a:pt x="0" y="130834"/>
                        </a:cubicBezTo>
                        <a:lnTo>
                          <a:pt x="142" y="130668"/>
                        </a:lnTo>
                        <a:cubicBezTo>
                          <a:pt x="4431" y="134260"/>
                          <a:pt x="12695" y="130231"/>
                          <a:pt x="18444" y="125653"/>
                        </a:cubicBezTo>
                        <a:cubicBezTo>
                          <a:pt x="25711" y="119870"/>
                          <a:pt x="36735" y="111160"/>
                          <a:pt x="48383" y="115702"/>
                        </a:cubicBezTo>
                        <a:cubicBezTo>
                          <a:pt x="51329" y="116853"/>
                          <a:pt x="53661" y="118678"/>
                          <a:pt x="55720" y="120285"/>
                        </a:cubicBezTo>
                        <a:cubicBezTo>
                          <a:pt x="57165" y="121413"/>
                          <a:pt x="58529" y="122478"/>
                          <a:pt x="59869" y="123126"/>
                        </a:cubicBezTo>
                        <a:cubicBezTo>
                          <a:pt x="66242" y="126195"/>
                          <a:pt x="73976" y="121530"/>
                          <a:pt x="82161" y="116597"/>
                        </a:cubicBezTo>
                        <a:cubicBezTo>
                          <a:pt x="84836" y="114974"/>
                          <a:pt x="87504" y="113371"/>
                          <a:pt x="90120" y="112023"/>
                        </a:cubicBezTo>
                        <a:cubicBezTo>
                          <a:pt x="109944" y="101800"/>
                          <a:pt x="134021" y="105709"/>
                          <a:pt x="151605" y="108572"/>
                        </a:cubicBezTo>
                        <a:cubicBezTo>
                          <a:pt x="186938" y="114316"/>
                          <a:pt x="220432" y="121528"/>
                          <a:pt x="242036" y="146334"/>
                        </a:cubicBezTo>
                        <a:lnTo>
                          <a:pt x="242892" y="147326"/>
                        </a:lnTo>
                        <a:cubicBezTo>
                          <a:pt x="245000" y="149778"/>
                          <a:pt x="246982" y="152084"/>
                          <a:pt x="249077" y="152607"/>
                        </a:cubicBezTo>
                        <a:cubicBezTo>
                          <a:pt x="250258" y="152903"/>
                          <a:pt x="251829" y="152725"/>
                          <a:pt x="253647" y="152531"/>
                        </a:cubicBezTo>
                        <a:cubicBezTo>
                          <a:pt x="255569" y="152310"/>
                          <a:pt x="257491" y="152135"/>
                          <a:pt x="259374" y="152287"/>
                        </a:cubicBezTo>
                        <a:cubicBezTo>
                          <a:pt x="269404" y="153070"/>
                          <a:pt x="274884" y="161070"/>
                          <a:pt x="279714" y="168125"/>
                        </a:cubicBezTo>
                        <a:cubicBezTo>
                          <a:pt x="283145" y="173136"/>
                          <a:pt x="286386" y="177874"/>
                          <a:pt x="290713" y="179726"/>
                        </a:cubicBezTo>
                        <a:cubicBezTo>
                          <a:pt x="296297" y="182109"/>
                          <a:pt x="302761" y="179480"/>
                          <a:pt x="310227" y="176394"/>
                        </a:cubicBezTo>
                        <a:cubicBezTo>
                          <a:pt x="315549" y="174191"/>
                          <a:pt x="321063" y="171911"/>
                          <a:pt x="326995" y="171257"/>
                        </a:cubicBezTo>
                        <a:cubicBezTo>
                          <a:pt x="329807" y="170950"/>
                          <a:pt x="332755" y="171021"/>
                          <a:pt x="335683" y="171113"/>
                        </a:cubicBezTo>
                        <a:cubicBezTo>
                          <a:pt x="340556" y="171263"/>
                          <a:pt x="344725" y="171397"/>
                          <a:pt x="347691" y="169442"/>
                        </a:cubicBezTo>
                        <a:cubicBezTo>
                          <a:pt x="352394" y="166329"/>
                          <a:pt x="352679" y="158927"/>
                          <a:pt x="352971" y="151095"/>
                        </a:cubicBezTo>
                        <a:cubicBezTo>
                          <a:pt x="353058" y="148912"/>
                          <a:pt x="353146" y="146749"/>
                          <a:pt x="353317" y="144684"/>
                        </a:cubicBezTo>
                        <a:cubicBezTo>
                          <a:pt x="353909" y="137648"/>
                          <a:pt x="358086" y="130493"/>
                          <a:pt x="363476" y="126274"/>
                        </a:cubicBezTo>
                        <a:cubicBezTo>
                          <a:pt x="361585" y="124087"/>
                          <a:pt x="360009" y="121581"/>
                          <a:pt x="358906" y="118688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32" name="Forma libre 231">
                    <a:extLst>
                      <a:ext uri="{FF2B5EF4-FFF2-40B4-BE49-F238E27FC236}">
                        <a16:creationId xmlns:a16="http://schemas.microsoft.com/office/drawing/2014/main" id="{C787D2B2-232E-0A49-9F55-B43AFD473BD2}"/>
                      </a:ext>
                    </a:extLst>
                  </p:cNvPr>
                  <p:cNvSpPr/>
                  <p:nvPr/>
                </p:nvSpPr>
                <p:spPr>
                  <a:xfrm>
                    <a:off x="6252697" y="2112049"/>
                    <a:ext cx="206361" cy="169327"/>
                  </a:xfrm>
                  <a:custGeom>
                    <a:avLst/>
                    <a:gdLst>
                      <a:gd name="connsiteX0" fmla="*/ 1851 w 206361"/>
                      <a:gd name="connsiteY0" fmla="*/ 125145 h 169327"/>
                      <a:gd name="connsiteX1" fmla="*/ 21097 w 206361"/>
                      <a:gd name="connsiteY1" fmla="*/ 113083 h 169327"/>
                      <a:gd name="connsiteX2" fmla="*/ 41690 w 206361"/>
                      <a:gd name="connsiteY2" fmla="*/ 134662 h 169327"/>
                      <a:gd name="connsiteX3" fmla="*/ 42360 w 206361"/>
                      <a:gd name="connsiteY3" fmla="*/ 145840 h 169327"/>
                      <a:gd name="connsiteX4" fmla="*/ 53072 w 206361"/>
                      <a:gd name="connsiteY4" fmla="*/ 147111 h 169327"/>
                      <a:gd name="connsiteX5" fmla="*/ 65146 w 206361"/>
                      <a:gd name="connsiteY5" fmla="*/ 144948 h 169327"/>
                      <a:gd name="connsiteX6" fmla="*/ 72530 w 206361"/>
                      <a:gd name="connsiteY6" fmla="*/ 143248 h 169327"/>
                      <a:gd name="connsiteX7" fmla="*/ 96653 w 206361"/>
                      <a:gd name="connsiteY7" fmla="*/ 147805 h 169327"/>
                      <a:gd name="connsiteX8" fmla="*/ 104494 w 206361"/>
                      <a:gd name="connsiteY8" fmla="*/ 158885 h 169327"/>
                      <a:gd name="connsiteX9" fmla="*/ 109764 w 206361"/>
                      <a:gd name="connsiteY9" fmla="*/ 166738 h 169327"/>
                      <a:gd name="connsiteX10" fmla="*/ 127537 w 206361"/>
                      <a:gd name="connsiteY10" fmla="*/ 167345 h 169327"/>
                      <a:gd name="connsiteX11" fmla="*/ 136720 w 206361"/>
                      <a:gd name="connsiteY11" fmla="*/ 162835 h 169327"/>
                      <a:gd name="connsiteX12" fmla="*/ 149872 w 206361"/>
                      <a:gd name="connsiteY12" fmla="*/ 156773 h 169327"/>
                      <a:gd name="connsiteX13" fmla="*/ 190689 w 206361"/>
                      <a:gd name="connsiteY13" fmla="*/ 158778 h 169327"/>
                      <a:gd name="connsiteX14" fmla="*/ 191854 w 206361"/>
                      <a:gd name="connsiteY14" fmla="*/ 158077 h 169327"/>
                      <a:gd name="connsiteX15" fmla="*/ 204401 w 206361"/>
                      <a:gd name="connsiteY15" fmla="*/ 120918 h 169327"/>
                      <a:gd name="connsiteX16" fmla="*/ 203422 w 206361"/>
                      <a:gd name="connsiteY16" fmla="*/ 118624 h 169327"/>
                      <a:gd name="connsiteX17" fmla="*/ 200585 w 206361"/>
                      <a:gd name="connsiteY17" fmla="*/ 108706 h 169327"/>
                      <a:gd name="connsiteX18" fmla="*/ 201162 w 206361"/>
                      <a:gd name="connsiteY18" fmla="*/ 102750 h 169327"/>
                      <a:gd name="connsiteX19" fmla="*/ 201566 w 206361"/>
                      <a:gd name="connsiteY19" fmla="*/ 98749 h 169327"/>
                      <a:gd name="connsiteX20" fmla="*/ 197605 w 206361"/>
                      <a:gd name="connsiteY20" fmla="*/ 91813 h 169327"/>
                      <a:gd name="connsiteX21" fmla="*/ 195369 w 206361"/>
                      <a:gd name="connsiteY21" fmla="*/ 88861 h 169327"/>
                      <a:gd name="connsiteX22" fmla="*/ 195852 w 206361"/>
                      <a:gd name="connsiteY22" fmla="*/ 35792 h 169327"/>
                      <a:gd name="connsiteX23" fmla="*/ 197565 w 206361"/>
                      <a:gd name="connsiteY23" fmla="*/ 32645 h 169327"/>
                      <a:gd name="connsiteX24" fmla="*/ 202451 w 206361"/>
                      <a:gd name="connsiteY24" fmla="*/ 20797 h 169327"/>
                      <a:gd name="connsiteX25" fmla="*/ 192914 w 206361"/>
                      <a:gd name="connsiteY25" fmla="*/ 5472 h 169327"/>
                      <a:gd name="connsiteX26" fmla="*/ 194795 w 206361"/>
                      <a:gd name="connsiteY26" fmla="*/ 0 h 169327"/>
                      <a:gd name="connsiteX27" fmla="*/ 106044 w 206361"/>
                      <a:gd name="connsiteY27" fmla="*/ 16428 h 169327"/>
                      <a:gd name="connsiteX28" fmla="*/ 449 w 206361"/>
                      <a:gd name="connsiteY28" fmla="*/ 53306 h 169327"/>
                      <a:gd name="connsiteX29" fmla="*/ 16800 w 206361"/>
                      <a:gd name="connsiteY29" fmla="*/ 63552 h 169327"/>
                      <a:gd name="connsiteX30" fmla="*/ 1851 w 206361"/>
                      <a:gd name="connsiteY30" fmla="*/ 125145 h 1693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</a:cxnLst>
                    <a:rect l="l" t="t" r="r" b="b"/>
                    <a:pathLst>
                      <a:path w="206361" h="169327">
                        <a:moveTo>
                          <a:pt x="1851" y="125145"/>
                        </a:moveTo>
                        <a:cubicBezTo>
                          <a:pt x="9049" y="122606"/>
                          <a:pt x="15674" y="118455"/>
                          <a:pt x="21097" y="113083"/>
                        </a:cubicBezTo>
                        <a:cubicBezTo>
                          <a:pt x="31530" y="107498"/>
                          <a:pt x="40541" y="122883"/>
                          <a:pt x="41690" y="134662"/>
                        </a:cubicBezTo>
                        <a:cubicBezTo>
                          <a:pt x="42055" y="138378"/>
                          <a:pt x="42221" y="142109"/>
                          <a:pt x="42360" y="145840"/>
                        </a:cubicBezTo>
                        <a:cubicBezTo>
                          <a:pt x="45945" y="146563"/>
                          <a:pt x="49576" y="147272"/>
                          <a:pt x="53072" y="147111"/>
                        </a:cubicBezTo>
                        <a:cubicBezTo>
                          <a:pt x="56971" y="147008"/>
                          <a:pt x="60946" y="146006"/>
                          <a:pt x="65146" y="144948"/>
                        </a:cubicBezTo>
                        <a:cubicBezTo>
                          <a:pt x="67593" y="144323"/>
                          <a:pt x="70051" y="143711"/>
                          <a:pt x="72530" y="143248"/>
                        </a:cubicBezTo>
                        <a:cubicBezTo>
                          <a:pt x="82579" y="141367"/>
                          <a:pt x="90916" y="142955"/>
                          <a:pt x="96653" y="147805"/>
                        </a:cubicBezTo>
                        <a:cubicBezTo>
                          <a:pt x="100400" y="150978"/>
                          <a:pt x="102573" y="155182"/>
                          <a:pt x="104494" y="158885"/>
                        </a:cubicBezTo>
                        <a:cubicBezTo>
                          <a:pt x="106101" y="161986"/>
                          <a:pt x="107620" y="164917"/>
                          <a:pt x="109764" y="166738"/>
                        </a:cubicBezTo>
                        <a:cubicBezTo>
                          <a:pt x="114314" y="170593"/>
                          <a:pt x="121929" y="169579"/>
                          <a:pt x="127537" y="167345"/>
                        </a:cubicBezTo>
                        <a:cubicBezTo>
                          <a:pt x="130704" y="166079"/>
                          <a:pt x="133713" y="164455"/>
                          <a:pt x="136720" y="162835"/>
                        </a:cubicBezTo>
                        <a:cubicBezTo>
                          <a:pt x="140851" y="160616"/>
                          <a:pt x="145116" y="158324"/>
                          <a:pt x="149872" y="156773"/>
                        </a:cubicBezTo>
                        <a:cubicBezTo>
                          <a:pt x="163649" y="152274"/>
                          <a:pt x="178295" y="155136"/>
                          <a:pt x="190689" y="158778"/>
                        </a:cubicBezTo>
                        <a:lnTo>
                          <a:pt x="191854" y="158077"/>
                        </a:lnTo>
                        <a:cubicBezTo>
                          <a:pt x="204016" y="150761"/>
                          <a:pt x="209641" y="134092"/>
                          <a:pt x="204401" y="120918"/>
                        </a:cubicBezTo>
                        <a:lnTo>
                          <a:pt x="203422" y="118624"/>
                        </a:lnTo>
                        <a:cubicBezTo>
                          <a:pt x="202169" y="115758"/>
                          <a:pt x="200748" y="112511"/>
                          <a:pt x="200585" y="108706"/>
                        </a:cubicBezTo>
                        <a:cubicBezTo>
                          <a:pt x="200496" y="106518"/>
                          <a:pt x="200854" y="104515"/>
                          <a:pt x="201162" y="102750"/>
                        </a:cubicBezTo>
                        <a:cubicBezTo>
                          <a:pt x="201429" y="101248"/>
                          <a:pt x="201676" y="99833"/>
                          <a:pt x="201566" y="98749"/>
                        </a:cubicBezTo>
                        <a:cubicBezTo>
                          <a:pt x="201332" y="96584"/>
                          <a:pt x="199517" y="94266"/>
                          <a:pt x="197605" y="91813"/>
                        </a:cubicBezTo>
                        <a:cubicBezTo>
                          <a:pt x="196831" y="90830"/>
                          <a:pt x="196069" y="89855"/>
                          <a:pt x="195369" y="88861"/>
                        </a:cubicBezTo>
                        <a:cubicBezTo>
                          <a:pt x="183788" y="72429"/>
                          <a:pt x="188020" y="50677"/>
                          <a:pt x="195852" y="35792"/>
                        </a:cubicBezTo>
                        <a:lnTo>
                          <a:pt x="197565" y="32645"/>
                        </a:lnTo>
                        <a:cubicBezTo>
                          <a:pt x="199810" y="28568"/>
                          <a:pt x="201942" y="24720"/>
                          <a:pt x="202451" y="20797"/>
                        </a:cubicBezTo>
                        <a:cubicBezTo>
                          <a:pt x="203262" y="14430"/>
                          <a:pt x="198989" y="7552"/>
                          <a:pt x="192914" y="5472"/>
                        </a:cubicBezTo>
                        <a:lnTo>
                          <a:pt x="194795" y="0"/>
                        </a:lnTo>
                        <a:cubicBezTo>
                          <a:pt x="170124" y="15076"/>
                          <a:pt x="136286" y="16406"/>
                          <a:pt x="106044" y="16428"/>
                        </a:cubicBezTo>
                        <a:cubicBezTo>
                          <a:pt x="67078" y="16456"/>
                          <a:pt x="21627" y="20600"/>
                          <a:pt x="449" y="53306"/>
                        </a:cubicBezTo>
                        <a:cubicBezTo>
                          <a:pt x="5900" y="56722"/>
                          <a:pt x="11350" y="60136"/>
                          <a:pt x="16800" y="63552"/>
                        </a:cubicBezTo>
                        <a:cubicBezTo>
                          <a:pt x="2455" y="80153"/>
                          <a:pt x="-3287" y="103813"/>
                          <a:pt x="1851" y="125145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sp>
              <p:nvSpPr>
                <p:cNvPr id="204" name="Forma libre 203">
                  <a:extLst>
                    <a:ext uri="{FF2B5EF4-FFF2-40B4-BE49-F238E27FC236}">
                      <a16:creationId xmlns:a16="http://schemas.microsoft.com/office/drawing/2014/main" id="{BC4FC19B-9192-CB40-B1A4-E0E27B7FC0DA}"/>
                    </a:ext>
                  </a:extLst>
                </p:cNvPr>
                <p:cNvSpPr/>
                <p:nvPr/>
              </p:nvSpPr>
              <p:spPr>
                <a:xfrm>
                  <a:off x="6328498" y="879375"/>
                  <a:ext cx="1972055" cy="2506837"/>
                </a:xfrm>
                <a:custGeom>
                  <a:avLst/>
                  <a:gdLst>
                    <a:gd name="connsiteX0" fmla="*/ 1963591 w 1972055"/>
                    <a:gd name="connsiteY0" fmla="*/ 1346145 h 2506837"/>
                    <a:gd name="connsiteX1" fmla="*/ 1846862 w 1972055"/>
                    <a:gd name="connsiteY1" fmla="*/ 1352231 h 2506837"/>
                    <a:gd name="connsiteX2" fmla="*/ 1852599 w 1972055"/>
                    <a:gd name="connsiteY2" fmla="*/ 1312404 h 2506837"/>
                    <a:gd name="connsiteX3" fmla="*/ 1782729 w 1972055"/>
                    <a:gd name="connsiteY3" fmla="*/ 1351024 h 2506837"/>
                    <a:gd name="connsiteX4" fmla="*/ 1725246 w 1972055"/>
                    <a:gd name="connsiteY4" fmla="*/ 1183528 h 2506837"/>
                    <a:gd name="connsiteX5" fmla="*/ 1700902 w 1972055"/>
                    <a:gd name="connsiteY5" fmla="*/ 1136268 h 2506837"/>
                    <a:gd name="connsiteX6" fmla="*/ 1639928 w 1972055"/>
                    <a:gd name="connsiteY6" fmla="*/ 1206602 h 2506837"/>
                    <a:gd name="connsiteX7" fmla="*/ 1620871 w 1972055"/>
                    <a:gd name="connsiteY7" fmla="*/ 1214941 h 2506837"/>
                    <a:gd name="connsiteX8" fmla="*/ 1592593 w 1972055"/>
                    <a:gd name="connsiteY8" fmla="*/ 1176740 h 2506837"/>
                    <a:gd name="connsiteX9" fmla="*/ 1640091 w 1972055"/>
                    <a:gd name="connsiteY9" fmla="*/ 1175029 h 2506837"/>
                    <a:gd name="connsiteX10" fmla="*/ 1646951 w 1972055"/>
                    <a:gd name="connsiteY10" fmla="*/ 1107228 h 2506837"/>
                    <a:gd name="connsiteX11" fmla="*/ 1646181 w 1972055"/>
                    <a:gd name="connsiteY11" fmla="*/ 1093215 h 2506837"/>
                    <a:gd name="connsiteX12" fmla="*/ 1598392 w 1972055"/>
                    <a:gd name="connsiteY12" fmla="*/ 1087387 h 2506837"/>
                    <a:gd name="connsiteX13" fmla="*/ 1503600 w 1972055"/>
                    <a:gd name="connsiteY13" fmla="*/ 1050100 h 2506837"/>
                    <a:gd name="connsiteX14" fmla="*/ 1530833 w 1972055"/>
                    <a:gd name="connsiteY14" fmla="*/ 1046102 h 2506837"/>
                    <a:gd name="connsiteX15" fmla="*/ 1505030 w 1972055"/>
                    <a:gd name="connsiteY15" fmla="*/ 935299 h 2506837"/>
                    <a:gd name="connsiteX16" fmla="*/ 1505419 w 1972055"/>
                    <a:gd name="connsiteY16" fmla="*/ 876823 h 2506837"/>
                    <a:gd name="connsiteX17" fmla="*/ 1492969 w 1972055"/>
                    <a:gd name="connsiteY17" fmla="*/ 881597 h 2506837"/>
                    <a:gd name="connsiteX18" fmla="*/ 1462301 w 1972055"/>
                    <a:gd name="connsiteY18" fmla="*/ 817366 h 2506837"/>
                    <a:gd name="connsiteX19" fmla="*/ 1442897 w 1972055"/>
                    <a:gd name="connsiteY19" fmla="*/ 801753 h 2506837"/>
                    <a:gd name="connsiteX20" fmla="*/ 1413016 w 1972055"/>
                    <a:gd name="connsiteY20" fmla="*/ 736614 h 2506837"/>
                    <a:gd name="connsiteX21" fmla="*/ 1411885 w 1972055"/>
                    <a:gd name="connsiteY21" fmla="*/ 722998 h 2506837"/>
                    <a:gd name="connsiteX22" fmla="*/ 1390899 w 1972055"/>
                    <a:gd name="connsiteY22" fmla="*/ 706260 h 2506837"/>
                    <a:gd name="connsiteX23" fmla="*/ 1383677 w 1972055"/>
                    <a:gd name="connsiteY23" fmla="*/ 683753 h 2506837"/>
                    <a:gd name="connsiteX24" fmla="*/ 1345685 w 1972055"/>
                    <a:gd name="connsiteY24" fmla="*/ 594274 h 2506837"/>
                    <a:gd name="connsiteX25" fmla="*/ 1328134 w 1972055"/>
                    <a:gd name="connsiteY25" fmla="*/ 556741 h 2506837"/>
                    <a:gd name="connsiteX26" fmla="*/ 1288166 w 1972055"/>
                    <a:gd name="connsiteY26" fmla="*/ 528407 h 2506837"/>
                    <a:gd name="connsiteX27" fmla="*/ 1244061 w 1972055"/>
                    <a:gd name="connsiteY27" fmla="*/ 454098 h 2506837"/>
                    <a:gd name="connsiteX28" fmla="*/ 1183568 w 1972055"/>
                    <a:gd name="connsiteY28" fmla="*/ 396617 h 2506837"/>
                    <a:gd name="connsiteX29" fmla="*/ 1225322 w 1972055"/>
                    <a:gd name="connsiteY29" fmla="*/ 398690 h 2506837"/>
                    <a:gd name="connsiteX30" fmla="*/ 1233062 w 1972055"/>
                    <a:gd name="connsiteY30" fmla="*/ 295479 h 2506837"/>
                    <a:gd name="connsiteX31" fmla="*/ 1247275 w 1972055"/>
                    <a:gd name="connsiteY31" fmla="*/ 251506 h 2506837"/>
                    <a:gd name="connsiteX32" fmla="*/ 1227805 w 1972055"/>
                    <a:gd name="connsiteY32" fmla="*/ 230641 h 2506837"/>
                    <a:gd name="connsiteX33" fmla="*/ 1235599 w 1972055"/>
                    <a:gd name="connsiteY33" fmla="*/ 174404 h 2506837"/>
                    <a:gd name="connsiteX34" fmla="*/ 1239323 w 1972055"/>
                    <a:gd name="connsiteY34" fmla="*/ 118582 h 2506837"/>
                    <a:gd name="connsiteX35" fmla="*/ 1196105 w 1972055"/>
                    <a:gd name="connsiteY35" fmla="*/ 76228 h 2506837"/>
                    <a:gd name="connsiteX36" fmla="*/ 1120769 w 1972055"/>
                    <a:gd name="connsiteY36" fmla="*/ 39204 h 2506837"/>
                    <a:gd name="connsiteX37" fmla="*/ 1096985 w 1972055"/>
                    <a:gd name="connsiteY37" fmla="*/ 0 h 2506837"/>
                    <a:gd name="connsiteX38" fmla="*/ 1038536 w 1972055"/>
                    <a:gd name="connsiteY38" fmla="*/ 2283 h 2506837"/>
                    <a:gd name="connsiteX39" fmla="*/ 996938 w 1972055"/>
                    <a:gd name="connsiteY39" fmla="*/ 9755 h 2506837"/>
                    <a:gd name="connsiteX40" fmla="*/ 975723 w 1972055"/>
                    <a:gd name="connsiteY40" fmla="*/ 43494 h 2506837"/>
                    <a:gd name="connsiteX41" fmla="*/ 1005095 w 1972055"/>
                    <a:gd name="connsiteY41" fmla="*/ 82484 h 2506837"/>
                    <a:gd name="connsiteX42" fmla="*/ 998390 w 1972055"/>
                    <a:gd name="connsiteY42" fmla="*/ 121810 h 2506837"/>
                    <a:gd name="connsiteX43" fmla="*/ 1005170 w 1972055"/>
                    <a:gd name="connsiteY43" fmla="*/ 177223 h 2506837"/>
                    <a:gd name="connsiteX44" fmla="*/ 972803 w 1972055"/>
                    <a:gd name="connsiteY44" fmla="*/ 113650 h 2506837"/>
                    <a:gd name="connsiteX45" fmla="*/ 953511 w 1972055"/>
                    <a:gd name="connsiteY45" fmla="*/ 192833 h 2506837"/>
                    <a:gd name="connsiteX46" fmla="*/ 908826 w 1972055"/>
                    <a:gd name="connsiteY46" fmla="*/ 193030 h 2506837"/>
                    <a:gd name="connsiteX47" fmla="*/ 898811 w 1972055"/>
                    <a:gd name="connsiteY47" fmla="*/ 237650 h 2506837"/>
                    <a:gd name="connsiteX48" fmla="*/ 876038 w 1972055"/>
                    <a:gd name="connsiteY48" fmla="*/ 275761 h 2506837"/>
                    <a:gd name="connsiteX49" fmla="*/ 840160 w 1972055"/>
                    <a:gd name="connsiteY49" fmla="*/ 261161 h 2506837"/>
                    <a:gd name="connsiteX50" fmla="*/ 848780 w 1972055"/>
                    <a:gd name="connsiteY50" fmla="*/ 213897 h 2506837"/>
                    <a:gd name="connsiteX51" fmla="*/ 835922 w 1972055"/>
                    <a:gd name="connsiteY51" fmla="*/ 207604 h 2506837"/>
                    <a:gd name="connsiteX52" fmla="*/ 798514 w 1972055"/>
                    <a:gd name="connsiteY52" fmla="*/ 248484 h 2506837"/>
                    <a:gd name="connsiteX53" fmla="*/ 801212 w 1972055"/>
                    <a:gd name="connsiteY53" fmla="*/ 296783 h 2506837"/>
                    <a:gd name="connsiteX54" fmla="*/ 770708 w 1972055"/>
                    <a:gd name="connsiteY54" fmla="*/ 275654 h 2506837"/>
                    <a:gd name="connsiteX55" fmla="*/ 730725 w 1972055"/>
                    <a:gd name="connsiteY55" fmla="*/ 336606 h 2506837"/>
                    <a:gd name="connsiteX56" fmla="*/ 724080 w 1972055"/>
                    <a:gd name="connsiteY56" fmla="*/ 351008 h 2506837"/>
                    <a:gd name="connsiteX57" fmla="*/ 727456 w 1972055"/>
                    <a:gd name="connsiteY57" fmla="*/ 368372 h 2506837"/>
                    <a:gd name="connsiteX58" fmla="*/ 717258 w 1972055"/>
                    <a:gd name="connsiteY58" fmla="*/ 448960 h 2506837"/>
                    <a:gd name="connsiteX59" fmla="*/ 630864 w 1972055"/>
                    <a:gd name="connsiteY59" fmla="*/ 462844 h 2506837"/>
                    <a:gd name="connsiteX60" fmla="*/ 605949 w 1972055"/>
                    <a:gd name="connsiteY60" fmla="*/ 406135 h 2506837"/>
                    <a:gd name="connsiteX61" fmla="*/ 661347 w 1972055"/>
                    <a:gd name="connsiteY61" fmla="*/ 381506 h 2506837"/>
                    <a:gd name="connsiteX62" fmla="*/ 531108 w 1972055"/>
                    <a:gd name="connsiteY62" fmla="*/ 354221 h 2506837"/>
                    <a:gd name="connsiteX63" fmla="*/ 556290 w 1972055"/>
                    <a:gd name="connsiteY63" fmla="*/ 377591 h 2506837"/>
                    <a:gd name="connsiteX64" fmla="*/ 577200 w 1972055"/>
                    <a:gd name="connsiteY64" fmla="*/ 489493 h 2506837"/>
                    <a:gd name="connsiteX65" fmla="*/ 629403 w 1972055"/>
                    <a:gd name="connsiteY65" fmla="*/ 495629 h 2506837"/>
                    <a:gd name="connsiteX66" fmla="*/ 647206 w 1972055"/>
                    <a:gd name="connsiteY66" fmla="*/ 557358 h 2506837"/>
                    <a:gd name="connsiteX67" fmla="*/ 593015 w 1972055"/>
                    <a:gd name="connsiteY67" fmla="*/ 550091 h 2506837"/>
                    <a:gd name="connsiteX68" fmla="*/ 588179 w 1972055"/>
                    <a:gd name="connsiteY68" fmla="*/ 522840 h 2506837"/>
                    <a:gd name="connsiteX69" fmla="*/ 538258 w 1972055"/>
                    <a:gd name="connsiteY69" fmla="*/ 553764 h 2506837"/>
                    <a:gd name="connsiteX70" fmla="*/ 504448 w 1972055"/>
                    <a:gd name="connsiteY70" fmla="*/ 606071 h 2506837"/>
                    <a:gd name="connsiteX71" fmla="*/ 474205 w 1972055"/>
                    <a:gd name="connsiteY71" fmla="*/ 644883 h 2506837"/>
                    <a:gd name="connsiteX72" fmla="*/ 512638 w 1972055"/>
                    <a:gd name="connsiteY72" fmla="*/ 683611 h 2506837"/>
                    <a:gd name="connsiteX73" fmla="*/ 567127 w 1972055"/>
                    <a:gd name="connsiteY73" fmla="*/ 729164 h 2506837"/>
                    <a:gd name="connsiteX74" fmla="*/ 400552 w 1972055"/>
                    <a:gd name="connsiteY74" fmla="*/ 710363 h 2506837"/>
                    <a:gd name="connsiteX75" fmla="*/ 389767 w 1972055"/>
                    <a:gd name="connsiteY75" fmla="*/ 736825 h 2506837"/>
                    <a:gd name="connsiteX76" fmla="*/ 473626 w 1972055"/>
                    <a:gd name="connsiteY76" fmla="*/ 790060 h 2506837"/>
                    <a:gd name="connsiteX77" fmla="*/ 469325 w 1972055"/>
                    <a:gd name="connsiteY77" fmla="*/ 803504 h 2506837"/>
                    <a:gd name="connsiteX78" fmla="*/ 456996 w 1972055"/>
                    <a:gd name="connsiteY78" fmla="*/ 806684 h 2506837"/>
                    <a:gd name="connsiteX79" fmla="*/ 398036 w 1972055"/>
                    <a:gd name="connsiteY79" fmla="*/ 789143 h 2506837"/>
                    <a:gd name="connsiteX80" fmla="*/ 357215 w 1972055"/>
                    <a:gd name="connsiteY80" fmla="*/ 785073 h 2506837"/>
                    <a:gd name="connsiteX81" fmla="*/ 305689 w 1972055"/>
                    <a:gd name="connsiteY81" fmla="*/ 709549 h 2506837"/>
                    <a:gd name="connsiteX82" fmla="*/ 296812 w 1972055"/>
                    <a:gd name="connsiteY82" fmla="*/ 662857 h 2506837"/>
                    <a:gd name="connsiteX83" fmla="*/ 257512 w 1972055"/>
                    <a:gd name="connsiteY83" fmla="*/ 650488 h 2506837"/>
                    <a:gd name="connsiteX84" fmla="*/ 224142 w 1972055"/>
                    <a:gd name="connsiteY84" fmla="*/ 620413 h 2506837"/>
                    <a:gd name="connsiteX85" fmla="*/ 194553 w 1972055"/>
                    <a:gd name="connsiteY85" fmla="*/ 588232 h 2506837"/>
                    <a:gd name="connsiteX86" fmla="*/ 226669 w 1972055"/>
                    <a:gd name="connsiteY86" fmla="*/ 581542 h 2506837"/>
                    <a:gd name="connsiteX87" fmla="*/ 256722 w 1972055"/>
                    <a:gd name="connsiteY87" fmla="*/ 602813 h 2506837"/>
                    <a:gd name="connsiteX88" fmla="*/ 372119 w 1972055"/>
                    <a:gd name="connsiteY88" fmla="*/ 612836 h 2506837"/>
                    <a:gd name="connsiteX89" fmla="*/ 393190 w 1972055"/>
                    <a:gd name="connsiteY89" fmla="*/ 628460 h 2506837"/>
                    <a:gd name="connsiteX90" fmla="*/ 436527 w 1972055"/>
                    <a:gd name="connsiteY90" fmla="*/ 615885 h 2506837"/>
                    <a:gd name="connsiteX91" fmla="*/ 467531 w 1972055"/>
                    <a:gd name="connsiteY91" fmla="*/ 579379 h 2506837"/>
                    <a:gd name="connsiteX92" fmla="*/ 504810 w 1972055"/>
                    <a:gd name="connsiteY92" fmla="*/ 541601 h 2506837"/>
                    <a:gd name="connsiteX93" fmla="*/ 505742 w 1972055"/>
                    <a:gd name="connsiteY93" fmla="*/ 507827 h 2506837"/>
                    <a:gd name="connsiteX94" fmla="*/ 455879 w 1972055"/>
                    <a:gd name="connsiteY94" fmla="*/ 439855 h 2506837"/>
                    <a:gd name="connsiteX95" fmla="*/ 431103 w 1972055"/>
                    <a:gd name="connsiteY95" fmla="*/ 446278 h 2506837"/>
                    <a:gd name="connsiteX96" fmla="*/ 331230 w 1972055"/>
                    <a:gd name="connsiteY96" fmla="*/ 396289 h 2506837"/>
                    <a:gd name="connsiteX97" fmla="*/ 196490 w 1972055"/>
                    <a:gd name="connsiteY97" fmla="*/ 388621 h 2506837"/>
                    <a:gd name="connsiteX98" fmla="*/ 99517 w 1972055"/>
                    <a:gd name="connsiteY98" fmla="*/ 363802 h 2506837"/>
                    <a:gd name="connsiteX99" fmla="*/ 74781 w 1972055"/>
                    <a:gd name="connsiteY99" fmla="*/ 381555 h 2506837"/>
                    <a:gd name="connsiteX100" fmla="*/ 68376 w 1972055"/>
                    <a:gd name="connsiteY100" fmla="*/ 372773 h 2506837"/>
                    <a:gd name="connsiteX101" fmla="*/ 21249 w 1972055"/>
                    <a:gd name="connsiteY101" fmla="*/ 395651 h 2506837"/>
                    <a:gd name="connsiteX102" fmla="*/ 83 w 1972055"/>
                    <a:gd name="connsiteY102" fmla="*/ 444730 h 2506837"/>
                    <a:gd name="connsiteX103" fmla="*/ 39297 w 1972055"/>
                    <a:gd name="connsiteY103" fmla="*/ 506137 h 2506837"/>
                    <a:gd name="connsiteX104" fmla="*/ 60547 w 1972055"/>
                    <a:gd name="connsiteY104" fmla="*/ 537214 h 2506837"/>
                    <a:gd name="connsiteX105" fmla="*/ 55354 w 1972055"/>
                    <a:gd name="connsiteY105" fmla="*/ 554845 h 2506837"/>
                    <a:gd name="connsiteX106" fmla="*/ 53767 w 1972055"/>
                    <a:gd name="connsiteY106" fmla="*/ 558292 h 2506837"/>
                    <a:gd name="connsiteX107" fmla="*/ 49099 w 1972055"/>
                    <a:gd name="connsiteY107" fmla="*/ 599317 h 2506837"/>
                    <a:gd name="connsiteX108" fmla="*/ 51950 w 1972055"/>
                    <a:gd name="connsiteY108" fmla="*/ 607301 h 2506837"/>
                    <a:gd name="connsiteX109" fmla="*/ 58676 w 1972055"/>
                    <a:gd name="connsiteY109" fmla="*/ 613212 h 2506837"/>
                    <a:gd name="connsiteX110" fmla="*/ 59873 w 1972055"/>
                    <a:gd name="connsiteY110" fmla="*/ 614071 h 2506837"/>
                    <a:gd name="connsiteX111" fmla="*/ 100173 w 1972055"/>
                    <a:gd name="connsiteY111" fmla="*/ 665758 h 2506837"/>
                    <a:gd name="connsiteX112" fmla="*/ 104681 w 1972055"/>
                    <a:gd name="connsiteY112" fmla="*/ 702965 h 2506837"/>
                    <a:gd name="connsiteX113" fmla="*/ 101101 w 1972055"/>
                    <a:gd name="connsiteY113" fmla="*/ 713764 h 2506837"/>
                    <a:gd name="connsiteX114" fmla="*/ 97419 w 1972055"/>
                    <a:gd name="connsiteY114" fmla="*/ 726219 h 2506837"/>
                    <a:gd name="connsiteX115" fmla="*/ 100938 w 1972055"/>
                    <a:gd name="connsiteY115" fmla="*/ 745720 h 2506837"/>
                    <a:gd name="connsiteX116" fmla="*/ 143526 w 1972055"/>
                    <a:gd name="connsiteY116" fmla="*/ 812645 h 2506837"/>
                    <a:gd name="connsiteX117" fmla="*/ 144286 w 1972055"/>
                    <a:gd name="connsiteY117" fmla="*/ 813405 h 2506837"/>
                    <a:gd name="connsiteX118" fmla="*/ 158234 w 1972055"/>
                    <a:gd name="connsiteY118" fmla="*/ 836287 h 2506837"/>
                    <a:gd name="connsiteX119" fmla="*/ 146330 w 1972055"/>
                    <a:gd name="connsiteY119" fmla="*/ 855760 h 2506837"/>
                    <a:gd name="connsiteX120" fmla="*/ 130043 w 1972055"/>
                    <a:gd name="connsiteY120" fmla="*/ 857670 h 2506837"/>
                    <a:gd name="connsiteX121" fmla="*/ 128539 w 1972055"/>
                    <a:gd name="connsiteY121" fmla="*/ 862285 h 2506837"/>
                    <a:gd name="connsiteX122" fmla="*/ 205780 w 1972055"/>
                    <a:gd name="connsiteY122" fmla="*/ 899666 h 2506837"/>
                    <a:gd name="connsiteX123" fmla="*/ 232154 w 1972055"/>
                    <a:gd name="connsiteY123" fmla="*/ 936531 h 2506837"/>
                    <a:gd name="connsiteX124" fmla="*/ 231324 w 1972055"/>
                    <a:gd name="connsiteY124" fmla="*/ 939289 h 2506837"/>
                    <a:gd name="connsiteX125" fmla="*/ 228558 w 1972055"/>
                    <a:gd name="connsiteY125" fmla="*/ 940090 h 2506837"/>
                    <a:gd name="connsiteX126" fmla="*/ 207659 w 1972055"/>
                    <a:gd name="connsiteY126" fmla="*/ 957298 h 2506837"/>
                    <a:gd name="connsiteX127" fmla="*/ 171459 w 1972055"/>
                    <a:gd name="connsiteY127" fmla="*/ 1013716 h 2506837"/>
                    <a:gd name="connsiteX128" fmla="*/ 169632 w 1972055"/>
                    <a:gd name="connsiteY128" fmla="*/ 1018388 h 2506837"/>
                    <a:gd name="connsiteX129" fmla="*/ 171160 w 1972055"/>
                    <a:gd name="connsiteY129" fmla="*/ 1020840 h 2506837"/>
                    <a:gd name="connsiteX130" fmla="*/ 174606 w 1972055"/>
                    <a:gd name="connsiteY130" fmla="*/ 1027831 h 2506837"/>
                    <a:gd name="connsiteX131" fmla="*/ 159849 w 1972055"/>
                    <a:gd name="connsiteY131" fmla="*/ 1043301 h 2506837"/>
                    <a:gd name="connsiteX132" fmla="*/ 153217 w 1972055"/>
                    <a:gd name="connsiteY132" fmla="*/ 1045833 h 2506837"/>
                    <a:gd name="connsiteX133" fmla="*/ 145972 w 1972055"/>
                    <a:gd name="connsiteY133" fmla="*/ 1054764 h 2506837"/>
                    <a:gd name="connsiteX134" fmla="*/ 97711 w 1972055"/>
                    <a:gd name="connsiteY134" fmla="*/ 1138563 h 2506837"/>
                    <a:gd name="connsiteX135" fmla="*/ 108751 w 1972055"/>
                    <a:gd name="connsiteY135" fmla="*/ 1141054 h 2506837"/>
                    <a:gd name="connsiteX136" fmla="*/ 127310 w 1972055"/>
                    <a:gd name="connsiteY136" fmla="*/ 1146527 h 2506837"/>
                    <a:gd name="connsiteX137" fmla="*/ 131003 w 1972055"/>
                    <a:gd name="connsiteY137" fmla="*/ 1169200 h 2506837"/>
                    <a:gd name="connsiteX138" fmla="*/ 229569 w 1972055"/>
                    <a:gd name="connsiteY138" fmla="*/ 1185259 h 2506837"/>
                    <a:gd name="connsiteX139" fmla="*/ 137772 w 1972055"/>
                    <a:gd name="connsiteY139" fmla="*/ 1215950 h 2506837"/>
                    <a:gd name="connsiteX140" fmla="*/ 123713 w 1972055"/>
                    <a:gd name="connsiteY140" fmla="*/ 1229555 h 2506837"/>
                    <a:gd name="connsiteX141" fmla="*/ 137147 w 1972055"/>
                    <a:gd name="connsiteY141" fmla="*/ 1254820 h 2506837"/>
                    <a:gd name="connsiteX142" fmla="*/ 131028 w 1972055"/>
                    <a:gd name="connsiteY142" fmla="*/ 1270441 h 2506837"/>
                    <a:gd name="connsiteX143" fmla="*/ 129414 w 1972055"/>
                    <a:gd name="connsiteY143" fmla="*/ 1273402 h 2506837"/>
                    <a:gd name="connsiteX144" fmla="*/ 128229 w 1972055"/>
                    <a:gd name="connsiteY144" fmla="*/ 1315429 h 2506837"/>
                    <a:gd name="connsiteX145" fmla="*/ 130141 w 1972055"/>
                    <a:gd name="connsiteY145" fmla="*/ 1317964 h 2506837"/>
                    <a:gd name="connsiteX146" fmla="*/ 136293 w 1972055"/>
                    <a:gd name="connsiteY146" fmla="*/ 1330297 h 2506837"/>
                    <a:gd name="connsiteX147" fmla="*/ 135787 w 1972055"/>
                    <a:gd name="connsiteY147" fmla="*/ 1337257 h 2506837"/>
                    <a:gd name="connsiteX148" fmla="*/ 135369 w 1972055"/>
                    <a:gd name="connsiteY148" fmla="*/ 1340947 h 2506837"/>
                    <a:gd name="connsiteX149" fmla="*/ 137319 w 1972055"/>
                    <a:gd name="connsiteY149" fmla="*/ 1347045 h 2506837"/>
                    <a:gd name="connsiteX150" fmla="*/ 138435 w 1972055"/>
                    <a:gd name="connsiteY150" fmla="*/ 1349679 h 2506837"/>
                    <a:gd name="connsiteX151" fmla="*/ 128469 w 1972055"/>
                    <a:gd name="connsiteY151" fmla="*/ 1394409 h 2506837"/>
                    <a:gd name="connsiteX152" fmla="*/ 142312 w 1972055"/>
                    <a:gd name="connsiteY152" fmla="*/ 1444831 h 2506837"/>
                    <a:gd name="connsiteX153" fmla="*/ 140970 w 1972055"/>
                    <a:gd name="connsiteY153" fmla="*/ 1450583 h 2506837"/>
                    <a:gd name="connsiteX154" fmla="*/ 143738 w 1972055"/>
                    <a:gd name="connsiteY154" fmla="*/ 1452650 h 2506837"/>
                    <a:gd name="connsiteX155" fmla="*/ 146711 w 1972055"/>
                    <a:gd name="connsiteY155" fmla="*/ 1454603 h 2506837"/>
                    <a:gd name="connsiteX156" fmla="*/ 153699 w 1972055"/>
                    <a:gd name="connsiteY156" fmla="*/ 1483181 h 2506837"/>
                    <a:gd name="connsiteX157" fmla="*/ 154099 w 1972055"/>
                    <a:gd name="connsiteY157" fmla="*/ 1500689 h 2506837"/>
                    <a:gd name="connsiteX158" fmla="*/ 174157 w 1972055"/>
                    <a:gd name="connsiteY158" fmla="*/ 1514911 h 2506837"/>
                    <a:gd name="connsiteX159" fmla="*/ 210675 w 1972055"/>
                    <a:gd name="connsiteY159" fmla="*/ 1524288 h 2506837"/>
                    <a:gd name="connsiteX160" fmla="*/ 260369 w 1972055"/>
                    <a:gd name="connsiteY160" fmla="*/ 1535892 h 2506837"/>
                    <a:gd name="connsiteX161" fmla="*/ 276361 w 1972055"/>
                    <a:gd name="connsiteY161" fmla="*/ 1523811 h 2506837"/>
                    <a:gd name="connsiteX162" fmla="*/ 299702 w 1972055"/>
                    <a:gd name="connsiteY162" fmla="*/ 1530364 h 2506837"/>
                    <a:gd name="connsiteX163" fmla="*/ 300682 w 1972055"/>
                    <a:gd name="connsiteY163" fmla="*/ 1531510 h 2506837"/>
                    <a:gd name="connsiteX164" fmla="*/ 300912 w 1972055"/>
                    <a:gd name="connsiteY164" fmla="*/ 1532999 h 2506837"/>
                    <a:gd name="connsiteX165" fmla="*/ 317127 w 1972055"/>
                    <a:gd name="connsiteY165" fmla="*/ 1607073 h 2506837"/>
                    <a:gd name="connsiteX166" fmla="*/ 330693 w 1972055"/>
                    <a:gd name="connsiteY166" fmla="*/ 1626096 h 2506837"/>
                    <a:gd name="connsiteX167" fmla="*/ 334479 w 1972055"/>
                    <a:gd name="connsiteY167" fmla="*/ 1626150 h 2506837"/>
                    <a:gd name="connsiteX168" fmla="*/ 343060 w 1972055"/>
                    <a:gd name="connsiteY168" fmla="*/ 1626996 h 2506837"/>
                    <a:gd name="connsiteX169" fmla="*/ 355476 w 1972055"/>
                    <a:gd name="connsiteY169" fmla="*/ 1641347 h 2506837"/>
                    <a:gd name="connsiteX170" fmla="*/ 358750 w 1972055"/>
                    <a:gd name="connsiteY170" fmla="*/ 1647684 h 2506837"/>
                    <a:gd name="connsiteX171" fmla="*/ 370543 w 1972055"/>
                    <a:gd name="connsiteY171" fmla="*/ 1656448 h 2506837"/>
                    <a:gd name="connsiteX172" fmla="*/ 422691 w 1972055"/>
                    <a:gd name="connsiteY172" fmla="*/ 1684811 h 2506837"/>
                    <a:gd name="connsiteX173" fmla="*/ 432462 w 1972055"/>
                    <a:gd name="connsiteY173" fmla="*/ 1694114 h 2506837"/>
                    <a:gd name="connsiteX174" fmla="*/ 432639 w 1972055"/>
                    <a:gd name="connsiteY174" fmla="*/ 1705423 h 2506837"/>
                    <a:gd name="connsiteX175" fmla="*/ 414769 w 1972055"/>
                    <a:gd name="connsiteY175" fmla="*/ 1748754 h 2506837"/>
                    <a:gd name="connsiteX176" fmla="*/ 407158 w 1972055"/>
                    <a:gd name="connsiteY176" fmla="*/ 1755721 h 2506837"/>
                    <a:gd name="connsiteX177" fmla="*/ 400091 w 1972055"/>
                    <a:gd name="connsiteY177" fmla="*/ 1762232 h 2506837"/>
                    <a:gd name="connsiteX178" fmla="*/ 392403 w 1972055"/>
                    <a:gd name="connsiteY178" fmla="*/ 1786855 h 2506837"/>
                    <a:gd name="connsiteX179" fmla="*/ 403996 w 1972055"/>
                    <a:gd name="connsiteY179" fmla="*/ 1809905 h 2506837"/>
                    <a:gd name="connsiteX180" fmla="*/ 410536 w 1972055"/>
                    <a:gd name="connsiteY180" fmla="*/ 1814403 h 2506837"/>
                    <a:gd name="connsiteX181" fmla="*/ 418714 w 1972055"/>
                    <a:gd name="connsiteY181" fmla="*/ 1820229 h 2506837"/>
                    <a:gd name="connsiteX182" fmla="*/ 472264 w 1972055"/>
                    <a:gd name="connsiteY182" fmla="*/ 1807884 h 2506837"/>
                    <a:gd name="connsiteX183" fmla="*/ 488580 w 1972055"/>
                    <a:gd name="connsiteY183" fmla="*/ 1805988 h 2506837"/>
                    <a:gd name="connsiteX184" fmla="*/ 541245 w 1972055"/>
                    <a:gd name="connsiteY184" fmla="*/ 1812710 h 2506837"/>
                    <a:gd name="connsiteX185" fmla="*/ 545061 w 1972055"/>
                    <a:gd name="connsiteY185" fmla="*/ 1813981 h 2506837"/>
                    <a:gd name="connsiteX186" fmla="*/ 542536 w 1972055"/>
                    <a:gd name="connsiteY186" fmla="*/ 1866232 h 2506837"/>
                    <a:gd name="connsiteX187" fmla="*/ 543405 w 1972055"/>
                    <a:gd name="connsiteY187" fmla="*/ 1875978 h 2506837"/>
                    <a:gd name="connsiteX188" fmla="*/ 557510 w 1972055"/>
                    <a:gd name="connsiteY188" fmla="*/ 1883759 h 2506837"/>
                    <a:gd name="connsiteX189" fmla="*/ 585501 w 1972055"/>
                    <a:gd name="connsiteY189" fmla="*/ 1882923 h 2506837"/>
                    <a:gd name="connsiteX190" fmla="*/ 589671 w 1972055"/>
                    <a:gd name="connsiteY190" fmla="*/ 1881878 h 2506837"/>
                    <a:gd name="connsiteX191" fmla="*/ 609340 w 1972055"/>
                    <a:gd name="connsiteY191" fmla="*/ 1879931 h 2506837"/>
                    <a:gd name="connsiteX192" fmla="*/ 635926 w 1972055"/>
                    <a:gd name="connsiteY192" fmla="*/ 1920637 h 2506837"/>
                    <a:gd name="connsiteX193" fmla="*/ 678489 w 1972055"/>
                    <a:gd name="connsiteY193" fmla="*/ 1931935 h 2506837"/>
                    <a:gd name="connsiteX194" fmla="*/ 691285 w 1972055"/>
                    <a:gd name="connsiteY194" fmla="*/ 1923868 h 2506837"/>
                    <a:gd name="connsiteX195" fmla="*/ 695942 w 1972055"/>
                    <a:gd name="connsiteY195" fmla="*/ 1920105 h 2506837"/>
                    <a:gd name="connsiteX196" fmla="*/ 716830 w 1972055"/>
                    <a:gd name="connsiteY196" fmla="*/ 1913743 h 2506837"/>
                    <a:gd name="connsiteX197" fmla="*/ 727497 w 1972055"/>
                    <a:gd name="connsiteY197" fmla="*/ 1919952 h 2506837"/>
                    <a:gd name="connsiteX198" fmla="*/ 729931 w 1972055"/>
                    <a:gd name="connsiteY198" fmla="*/ 1924180 h 2506837"/>
                    <a:gd name="connsiteX199" fmla="*/ 731762 w 1972055"/>
                    <a:gd name="connsiteY199" fmla="*/ 1927149 h 2506837"/>
                    <a:gd name="connsiteX200" fmla="*/ 734728 w 1972055"/>
                    <a:gd name="connsiteY200" fmla="*/ 1926801 h 2506837"/>
                    <a:gd name="connsiteX201" fmla="*/ 740909 w 1972055"/>
                    <a:gd name="connsiteY201" fmla="*/ 1926247 h 2506837"/>
                    <a:gd name="connsiteX202" fmla="*/ 754188 w 1972055"/>
                    <a:gd name="connsiteY202" fmla="*/ 1936946 h 2506837"/>
                    <a:gd name="connsiteX203" fmla="*/ 759282 w 1972055"/>
                    <a:gd name="connsiteY203" fmla="*/ 1943104 h 2506837"/>
                    <a:gd name="connsiteX204" fmla="*/ 771356 w 1972055"/>
                    <a:gd name="connsiteY204" fmla="*/ 1941027 h 2506837"/>
                    <a:gd name="connsiteX205" fmla="*/ 778153 w 1972055"/>
                    <a:gd name="connsiteY205" fmla="*/ 1938556 h 2506837"/>
                    <a:gd name="connsiteX206" fmla="*/ 798154 w 1972055"/>
                    <a:gd name="connsiteY206" fmla="*/ 1946469 h 2506837"/>
                    <a:gd name="connsiteX207" fmla="*/ 799081 w 1972055"/>
                    <a:gd name="connsiteY207" fmla="*/ 1948452 h 2506837"/>
                    <a:gd name="connsiteX208" fmla="*/ 912573 w 1972055"/>
                    <a:gd name="connsiteY208" fmla="*/ 1960587 h 2506837"/>
                    <a:gd name="connsiteX209" fmla="*/ 920740 w 1972055"/>
                    <a:gd name="connsiteY209" fmla="*/ 1965635 h 2506837"/>
                    <a:gd name="connsiteX210" fmla="*/ 915006 w 1972055"/>
                    <a:gd name="connsiteY210" fmla="*/ 1991430 h 2506837"/>
                    <a:gd name="connsiteX211" fmla="*/ 910367 w 1972055"/>
                    <a:gd name="connsiteY211" fmla="*/ 1997531 h 2506837"/>
                    <a:gd name="connsiteX212" fmla="*/ 911688 w 1972055"/>
                    <a:gd name="connsiteY212" fmla="*/ 2023173 h 2506837"/>
                    <a:gd name="connsiteX213" fmla="*/ 918917 w 1972055"/>
                    <a:gd name="connsiteY213" fmla="*/ 2035441 h 2506837"/>
                    <a:gd name="connsiteX214" fmla="*/ 927919 w 1972055"/>
                    <a:gd name="connsiteY214" fmla="*/ 2051297 h 2506837"/>
                    <a:gd name="connsiteX215" fmla="*/ 930085 w 1972055"/>
                    <a:gd name="connsiteY215" fmla="*/ 2094746 h 2506837"/>
                    <a:gd name="connsiteX216" fmla="*/ 911308 w 1972055"/>
                    <a:gd name="connsiteY216" fmla="*/ 2112231 h 2506837"/>
                    <a:gd name="connsiteX217" fmla="*/ 903512 w 1972055"/>
                    <a:gd name="connsiteY217" fmla="*/ 2111153 h 2506837"/>
                    <a:gd name="connsiteX218" fmla="*/ 839489 w 1972055"/>
                    <a:gd name="connsiteY218" fmla="*/ 2151256 h 2506837"/>
                    <a:gd name="connsiteX219" fmla="*/ 846121 w 1972055"/>
                    <a:gd name="connsiteY219" fmla="*/ 2187295 h 2506837"/>
                    <a:gd name="connsiteX220" fmla="*/ 902070 w 1972055"/>
                    <a:gd name="connsiteY220" fmla="*/ 2176395 h 2506837"/>
                    <a:gd name="connsiteX221" fmla="*/ 878922 w 1972055"/>
                    <a:gd name="connsiteY221" fmla="*/ 2205330 h 2506837"/>
                    <a:gd name="connsiteX222" fmla="*/ 885535 w 1972055"/>
                    <a:gd name="connsiteY222" fmla="*/ 2225029 h 2506837"/>
                    <a:gd name="connsiteX223" fmla="*/ 847456 w 1972055"/>
                    <a:gd name="connsiteY223" fmla="*/ 2226575 h 2506837"/>
                    <a:gd name="connsiteX224" fmla="*/ 836637 w 1972055"/>
                    <a:gd name="connsiteY224" fmla="*/ 2242391 h 2506837"/>
                    <a:gd name="connsiteX225" fmla="*/ 863670 w 1972055"/>
                    <a:gd name="connsiteY225" fmla="*/ 2296853 h 2506837"/>
                    <a:gd name="connsiteX226" fmla="*/ 846017 w 1972055"/>
                    <a:gd name="connsiteY226" fmla="*/ 2310652 h 2506837"/>
                    <a:gd name="connsiteX227" fmla="*/ 842046 w 1972055"/>
                    <a:gd name="connsiteY227" fmla="*/ 2336338 h 2506837"/>
                    <a:gd name="connsiteX228" fmla="*/ 824836 w 1972055"/>
                    <a:gd name="connsiteY228" fmla="*/ 2355916 h 2506837"/>
                    <a:gd name="connsiteX229" fmla="*/ 852850 w 1972055"/>
                    <a:gd name="connsiteY229" fmla="*/ 2386309 h 2506837"/>
                    <a:gd name="connsiteX230" fmla="*/ 885809 w 1972055"/>
                    <a:gd name="connsiteY230" fmla="*/ 2413723 h 2506837"/>
                    <a:gd name="connsiteX231" fmla="*/ 986402 w 1972055"/>
                    <a:gd name="connsiteY231" fmla="*/ 2446625 h 2506837"/>
                    <a:gd name="connsiteX232" fmla="*/ 989661 w 1972055"/>
                    <a:gd name="connsiteY232" fmla="*/ 2445434 h 2506837"/>
                    <a:gd name="connsiteX233" fmla="*/ 1007978 w 1972055"/>
                    <a:gd name="connsiteY233" fmla="*/ 2448278 h 2506837"/>
                    <a:gd name="connsiteX234" fmla="*/ 1022833 w 1972055"/>
                    <a:gd name="connsiteY234" fmla="*/ 2466379 h 2506837"/>
                    <a:gd name="connsiteX235" fmla="*/ 1052056 w 1972055"/>
                    <a:gd name="connsiteY235" fmla="*/ 2433776 h 2506837"/>
                    <a:gd name="connsiteX236" fmla="*/ 1052931 w 1972055"/>
                    <a:gd name="connsiteY236" fmla="*/ 2427719 h 2506837"/>
                    <a:gd name="connsiteX237" fmla="*/ 1058798 w 1972055"/>
                    <a:gd name="connsiteY237" fmla="*/ 2429453 h 2506837"/>
                    <a:gd name="connsiteX238" fmla="*/ 1081975 w 1972055"/>
                    <a:gd name="connsiteY238" fmla="*/ 2420851 h 2506837"/>
                    <a:gd name="connsiteX239" fmla="*/ 1083416 w 1972055"/>
                    <a:gd name="connsiteY239" fmla="*/ 2418617 h 2506837"/>
                    <a:gd name="connsiteX240" fmla="*/ 1086062 w 1972055"/>
                    <a:gd name="connsiteY240" fmla="*/ 2418443 h 2506837"/>
                    <a:gd name="connsiteX241" fmla="*/ 1105754 w 1972055"/>
                    <a:gd name="connsiteY241" fmla="*/ 2437566 h 2506837"/>
                    <a:gd name="connsiteX242" fmla="*/ 1112513 w 1972055"/>
                    <a:gd name="connsiteY242" fmla="*/ 2450588 h 2506837"/>
                    <a:gd name="connsiteX243" fmla="*/ 1134584 w 1972055"/>
                    <a:gd name="connsiteY243" fmla="*/ 2454651 h 2506837"/>
                    <a:gd name="connsiteX244" fmla="*/ 1206695 w 1972055"/>
                    <a:gd name="connsiteY244" fmla="*/ 2449002 h 2506837"/>
                    <a:gd name="connsiteX245" fmla="*/ 1293887 w 1972055"/>
                    <a:gd name="connsiteY245" fmla="*/ 2457274 h 2506837"/>
                    <a:gd name="connsiteX246" fmla="*/ 1300716 w 1972055"/>
                    <a:gd name="connsiteY246" fmla="*/ 2460431 h 2506837"/>
                    <a:gd name="connsiteX247" fmla="*/ 1295442 w 1972055"/>
                    <a:gd name="connsiteY247" fmla="*/ 2465796 h 2506837"/>
                    <a:gd name="connsiteX248" fmla="*/ 1295270 w 1972055"/>
                    <a:gd name="connsiteY248" fmla="*/ 2468062 h 2506837"/>
                    <a:gd name="connsiteX249" fmla="*/ 1302386 w 1972055"/>
                    <a:gd name="connsiteY249" fmla="*/ 2473368 h 2506837"/>
                    <a:gd name="connsiteX250" fmla="*/ 1314972 w 1972055"/>
                    <a:gd name="connsiteY250" fmla="*/ 2470553 h 2506837"/>
                    <a:gd name="connsiteX251" fmla="*/ 1325096 w 1972055"/>
                    <a:gd name="connsiteY251" fmla="*/ 2467612 h 2506837"/>
                    <a:gd name="connsiteX252" fmla="*/ 1335683 w 1972055"/>
                    <a:gd name="connsiteY252" fmla="*/ 2466778 h 2506837"/>
                    <a:gd name="connsiteX253" fmla="*/ 1347576 w 1972055"/>
                    <a:gd name="connsiteY253" fmla="*/ 2465323 h 2506837"/>
                    <a:gd name="connsiteX254" fmla="*/ 1359307 w 1972055"/>
                    <a:gd name="connsiteY254" fmla="*/ 2457199 h 2506837"/>
                    <a:gd name="connsiteX255" fmla="*/ 1371506 w 1972055"/>
                    <a:gd name="connsiteY255" fmla="*/ 2448275 h 2506837"/>
                    <a:gd name="connsiteX256" fmla="*/ 1395518 w 1972055"/>
                    <a:gd name="connsiteY256" fmla="*/ 2451943 h 2506837"/>
                    <a:gd name="connsiteX257" fmla="*/ 1397188 w 1972055"/>
                    <a:gd name="connsiteY257" fmla="*/ 2453793 h 2506837"/>
                    <a:gd name="connsiteX258" fmla="*/ 1401467 w 1972055"/>
                    <a:gd name="connsiteY258" fmla="*/ 2452240 h 2506837"/>
                    <a:gd name="connsiteX259" fmla="*/ 1432462 w 1972055"/>
                    <a:gd name="connsiteY259" fmla="*/ 2461130 h 2506837"/>
                    <a:gd name="connsiteX260" fmla="*/ 1434499 w 1972055"/>
                    <a:gd name="connsiteY260" fmla="*/ 2462781 h 2506837"/>
                    <a:gd name="connsiteX261" fmla="*/ 1462899 w 1972055"/>
                    <a:gd name="connsiteY261" fmla="*/ 2474948 h 2506837"/>
                    <a:gd name="connsiteX262" fmla="*/ 1467271 w 1972055"/>
                    <a:gd name="connsiteY262" fmla="*/ 2473107 h 2506837"/>
                    <a:gd name="connsiteX263" fmla="*/ 1486080 w 1972055"/>
                    <a:gd name="connsiteY263" fmla="*/ 2506838 h 2506837"/>
                    <a:gd name="connsiteX264" fmla="*/ 1489398 w 1972055"/>
                    <a:gd name="connsiteY264" fmla="*/ 2497092 h 2506837"/>
                    <a:gd name="connsiteX265" fmla="*/ 1496268 w 1972055"/>
                    <a:gd name="connsiteY265" fmla="*/ 2480532 h 2506837"/>
                    <a:gd name="connsiteX266" fmla="*/ 1541962 w 1972055"/>
                    <a:gd name="connsiteY266" fmla="*/ 2487224 h 2506837"/>
                    <a:gd name="connsiteX267" fmla="*/ 1566442 w 1972055"/>
                    <a:gd name="connsiteY267" fmla="*/ 2496587 h 2506837"/>
                    <a:gd name="connsiteX268" fmla="*/ 1571946 w 1972055"/>
                    <a:gd name="connsiteY268" fmla="*/ 2492791 h 2506837"/>
                    <a:gd name="connsiteX269" fmla="*/ 1582700 w 1972055"/>
                    <a:gd name="connsiteY269" fmla="*/ 2474579 h 2506837"/>
                    <a:gd name="connsiteX270" fmla="*/ 1581795 w 1972055"/>
                    <a:gd name="connsiteY270" fmla="*/ 2495715 h 2506837"/>
                    <a:gd name="connsiteX271" fmla="*/ 1584875 w 1972055"/>
                    <a:gd name="connsiteY271" fmla="*/ 2502509 h 2506837"/>
                    <a:gd name="connsiteX272" fmla="*/ 1591846 w 1972055"/>
                    <a:gd name="connsiteY272" fmla="*/ 2505147 h 2506837"/>
                    <a:gd name="connsiteX273" fmla="*/ 1598115 w 1972055"/>
                    <a:gd name="connsiteY273" fmla="*/ 2501108 h 2506837"/>
                    <a:gd name="connsiteX274" fmla="*/ 1599695 w 1972055"/>
                    <a:gd name="connsiteY274" fmla="*/ 2493824 h 2506837"/>
                    <a:gd name="connsiteX275" fmla="*/ 1598312 w 1972055"/>
                    <a:gd name="connsiteY275" fmla="*/ 2490184 h 2506837"/>
                    <a:gd name="connsiteX276" fmla="*/ 1595948 w 1972055"/>
                    <a:gd name="connsiteY276" fmla="*/ 2479724 h 2506837"/>
                    <a:gd name="connsiteX277" fmla="*/ 1608414 w 1972055"/>
                    <a:gd name="connsiteY277" fmla="*/ 2464871 h 2506837"/>
                    <a:gd name="connsiteX278" fmla="*/ 1616059 w 1972055"/>
                    <a:gd name="connsiteY278" fmla="*/ 2457998 h 2506837"/>
                    <a:gd name="connsiteX279" fmla="*/ 1613802 w 1972055"/>
                    <a:gd name="connsiteY279" fmla="*/ 2450817 h 2506837"/>
                    <a:gd name="connsiteX280" fmla="*/ 1611434 w 1972055"/>
                    <a:gd name="connsiteY280" fmla="*/ 2445495 h 2506837"/>
                    <a:gd name="connsiteX281" fmla="*/ 1614129 w 1972055"/>
                    <a:gd name="connsiteY281" fmla="*/ 2430810 h 2506837"/>
                    <a:gd name="connsiteX282" fmla="*/ 1528714 w 1972055"/>
                    <a:gd name="connsiteY282" fmla="*/ 2379446 h 2506837"/>
                    <a:gd name="connsiteX283" fmla="*/ 1510385 w 1972055"/>
                    <a:gd name="connsiteY283" fmla="*/ 2355454 h 2506837"/>
                    <a:gd name="connsiteX284" fmla="*/ 1479575 w 1972055"/>
                    <a:gd name="connsiteY284" fmla="*/ 2290994 h 2506837"/>
                    <a:gd name="connsiteX285" fmla="*/ 1418146 w 1972055"/>
                    <a:gd name="connsiteY285" fmla="*/ 2270557 h 2506837"/>
                    <a:gd name="connsiteX286" fmla="*/ 1428756 w 1972055"/>
                    <a:gd name="connsiteY286" fmla="*/ 2127322 h 2506837"/>
                    <a:gd name="connsiteX287" fmla="*/ 1457805 w 1972055"/>
                    <a:gd name="connsiteY287" fmla="*/ 2136927 h 2506837"/>
                    <a:gd name="connsiteX288" fmla="*/ 1498736 w 1972055"/>
                    <a:gd name="connsiteY288" fmla="*/ 2065463 h 2506837"/>
                    <a:gd name="connsiteX289" fmla="*/ 1462539 w 1972055"/>
                    <a:gd name="connsiteY289" fmla="*/ 2027812 h 2506837"/>
                    <a:gd name="connsiteX290" fmla="*/ 1494151 w 1972055"/>
                    <a:gd name="connsiteY290" fmla="*/ 2031363 h 2506837"/>
                    <a:gd name="connsiteX291" fmla="*/ 1402643 w 1972055"/>
                    <a:gd name="connsiteY291" fmla="*/ 1942421 h 2506837"/>
                    <a:gd name="connsiteX292" fmla="*/ 1392559 w 1972055"/>
                    <a:gd name="connsiteY292" fmla="*/ 1974034 h 2506837"/>
                    <a:gd name="connsiteX293" fmla="*/ 1360251 w 1972055"/>
                    <a:gd name="connsiteY293" fmla="*/ 1961139 h 2506837"/>
                    <a:gd name="connsiteX294" fmla="*/ 1336227 w 1972055"/>
                    <a:gd name="connsiteY294" fmla="*/ 1929607 h 2506837"/>
                    <a:gd name="connsiteX295" fmla="*/ 1312482 w 1972055"/>
                    <a:gd name="connsiteY295" fmla="*/ 1928791 h 2506837"/>
                    <a:gd name="connsiteX296" fmla="*/ 1310714 w 1972055"/>
                    <a:gd name="connsiteY296" fmla="*/ 1885495 h 2506837"/>
                    <a:gd name="connsiteX297" fmla="*/ 1283004 w 1972055"/>
                    <a:gd name="connsiteY297" fmla="*/ 1787838 h 2506837"/>
                    <a:gd name="connsiteX298" fmla="*/ 1289750 w 1972055"/>
                    <a:gd name="connsiteY298" fmla="*/ 1761423 h 2506837"/>
                    <a:gd name="connsiteX299" fmla="*/ 1321724 w 1972055"/>
                    <a:gd name="connsiteY299" fmla="*/ 1766957 h 2506837"/>
                    <a:gd name="connsiteX300" fmla="*/ 1332391 w 1972055"/>
                    <a:gd name="connsiteY300" fmla="*/ 1801346 h 2506837"/>
                    <a:gd name="connsiteX301" fmla="*/ 1363331 w 1972055"/>
                    <a:gd name="connsiteY301" fmla="*/ 1795578 h 2506837"/>
                    <a:gd name="connsiteX302" fmla="*/ 1355928 w 1972055"/>
                    <a:gd name="connsiteY302" fmla="*/ 1758063 h 2506837"/>
                    <a:gd name="connsiteX303" fmla="*/ 1340973 w 1972055"/>
                    <a:gd name="connsiteY303" fmla="*/ 1721897 h 2506837"/>
                    <a:gd name="connsiteX304" fmla="*/ 1373397 w 1972055"/>
                    <a:gd name="connsiteY304" fmla="*/ 1726877 h 2506837"/>
                    <a:gd name="connsiteX305" fmla="*/ 1379323 w 1972055"/>
                    <a:gd name="connsiteY305" fmla="*/ 1659554 h 2506837"/>
                    <a:gd name="connsiteX306" fmla="*/ 1429925 w 1972055"/>
                    <a:gd name="connsiteY306" fmla="*/ 1591491 h 2506837"/>
                    <a:gd name="connsiteX307" fmla="*/ 1445299 w 1972055"/>
                    <a:gd name="connsiteY307" fmla="*/ 1617987 h 2506837"/>
                    <a:gd name="connsiteX308" fmla="*/ 1488403 w 1972055"/>
                    <a:gd name="connsiteY308" fmla="*/ 1557328 h 2506837"/>
                    <a:gd name="connsiteX309" fmla="*/ 1510149 w 1972055"/>
                    <a:gd name="connsiteY309" fmla="*/ 1572404 h 2506837"/>
                    <a:gd name="connsiteX310" fmla="*/ 1519337 w 1972055"/>
                    <a:gd name="connsiteY310" fmla="*/ 1551951 h 2506837"/>
                    <a:gd name="connsiteX311" fmla="*/ 1547970 w 1972055"/>
                    <a:gd name="connsiteY311" fmla="*/ 1555450 h 2506837"/>
                    <a:gd name="connsiteX312" fmla="*/ 1664695 w 1972055"/>
                    <a:gd name="connsiteY312" fmla="*/ 1598946 h 2506837"/>
                    <a:gd name="connsiteX313" fmla="*/ 1632139 w 1972055"/>
                    <a:gd name="connsiteY313" fmla="*/ 1556698 h 2506837"/>
                    <a:gd name="connsiteX314" fmla="*/ 1706426 w 1972055"/>
                    <a:gd name="connsiteY314" fmla="*/ 1566845 h 2506837"/>
                    <a:gd name="connsiteX315" fmla="*/ 1763899 w 1972055"/>
                    <a:gd name="connsiteY315" fmla="*/ 1499772 h 2506837"/>
                    <a:gd name="connsiteX316" fmla="*/ 1780311 w 1972055"/>
                    <a:gd name="connsiteY316" fmla="*/ 1503442 h 2506837"/>
                    <a:gd name="connsiteX317" fmla="*/ 1833375 w 1972055"/>
                    <a:gd name="connsiteY317" fmla="*/ 1450259 h 2506837"/>
                    <a:gd name="connsiteX318" fmla="*/ 1838629 w 1972055"/>
                    <a:gd name="connsiteY318" fmla="*/ 1468789 h 2506837"/>
                    <a:gd name="connsiteX319" fmla="*/ 1891787 w 1972055"/>
                    <a:gd name="connsiteY319" fmla="*/ 1458438 h 2506837"/>
                    <a:gd name="connsiteX320" fmla="*/ 1892509 w 1972055"/>
                    <a:gd name="connsiteY320" fmla="*/ 1434997 h 2506837"/>
                    <a:gd name="connsiteX321" fmla="*/ 1942815 w 1972055"/>
                    <a:gd name="connsiteY321" fmla="*/ 1419641 h 2506837"/>
                    <a:gd name="connsiteX322" fmla="*/ 1963591 w 1972055"/>
                    <a:gd name="connsiteY322" fmla="*/ 1346145 h 25068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</a:cxnLst>
                  <a:rect l="l" t="t" r="r" b="b"/>
                  <a:pathLst>
                    <a:path w="1972055" h="2506837">
                      <a:moveTo>
                        <a:pt x="1963591" y="1346145"/>
                      </a:moveTo>
                      <a:cubicBezTo>
                        <a:pt x="1930772" y="1320770"/>
                        <a:pt x="1875383" y="1382357"/>
                        <a:pt x="1846862" y="1352231"/>
                      </a:cubicBezTo>
                      <a:cubicBezTo>
                        <a:pt x="1836263" y="1341036"/>
                        <a:pt x="1839272" y="1320153"/>
                        <a:pt x="1852599" y="1312404"/>
                      </a:cubicBezTo>
                      <a:cubicBezTo>
                        <a:pt x="1824776" y="1312132"/>
                        <a:pt x="1797298" y="1327320"/>
                        <a:pt x="1782729" y="1351024"/>
                      </a:cubicBezTo>
                      <a:cubicBezTo>
                        <a:pt x="1748446" y="1302019"/>
                        <a:pt x="1728281" y="1243256"/>
                        <a:pt x="1725246" y="1183528"/>
                      </a:cubicBezTo>
                      <a:cubicBezTo>
                        <a:pt x="1709906" y="1173206"/>
                        <a:pt x="1700400" y="1154752"/>
                        <a:pt x="1700902" y="1136268"/>
                      </a:cubicBezTo>
                      <a:cubicBezTo>
                        <a:pt x="1698374" y="1168476"/>
                        <a:pt x="1667599" y="1189929"/>
                        <a:pt x="1639928" y="1206602"/>
                      </a:cubicBezTo>
                      <a:cubicBezTo>
                        <a:pt x="1633948" y="1210206"/>
                        <a:pt x="1627770" y="1213882"/>
                        <a:pt x="1620871" y="1214941"/>
                      </a:cubicBezTo>
                      <a:cubicBezTo>
                        <a:pt x="1601650" y="1217895"/>
                        <a:pt x="1584156" y="1194261"/>
                        <a:pt x="1592593" y="1176740"/>
                      </a:cubicBezTo>
                      <a:cubicBezTo>
                        <a:pt x="1601029" y="1159220"/>
                        <a:pt x="1630416" y="1158160"/>
                        <a:pt x="1640091" y="1175029"/>
                      </a:cubicBezTo>
                      <a:cubicBezTo>
                        <a:pt x="1642379" y="1152429"/>
                        <a:pt x="1644662" y="1129828"/>
                        <a:pt x="1646951" y="1107228"/>
                      </a:cubicBezTo>
                      <a:cubicBezTo>
                        <a:pt x="1647424" y="1102527"/>
                        <a:pt x="1647876" y="1097625"/>
                        <a:pt x="1646181" y="1093215"/>
                      </a:cubicBezTo>
                      <a:cubicBezTo>
                        <a:pt x="1639819" y="1076650"/>
                        <a:pt x="1615595" y="1083033"/>
                        <a:pt x="1598392" y="1087387"/>
                      </a:cubicBezTo>
                      <a:cubicBezTo>
                        <a:pt x="1563250" y="1096281"/>
                        <a:pt x="1523268" y="1080554"/>
                        <a:pt x="1503600" y="1050100"/>
                      </a:cubicBezTo>
                      <a:cubicBezTo>
                        <a:pt x="1512677" y="1048768"/>
                        <a:pt x="1521756" y="1047434"/>
                        <a:pt x="1530833" y="1046102"/>
                      </a:cubicBezTo>
                      <a:cubicBezTo>
                        <a:pt x="1509334" y="1013861"/>
                        <a:pt x="1499987" y="973721"/>
                        <a:pt x="1505030" y="935299"/>
                      </a:cubicBezTo>
                      <a:cubicBezTo>
                        <a:pt x="1507481" y="916618"/>
                        <a:pt x="1517772" y="891050"/>
                        <a:pt x="1505419" y="876823"/>
                      </a:cubicBezTo>
                      <a:cubicBezTo>
                        <a:pt x="1502526" y="880483"/>
                        <a:pt x="1497567" y="882386"/>
                        <a:pt x="1492969" y="881597"/>
                      </a:cubicBezTo>
                      <a:cubicBezTo>
                        <a:pt x="1480776" y="861062"/>
                        <a:pt x="1478952" y="834488"/>
                        <a:pt x="1462301" y="817366"/>
                      </a:cubicBezTo>
                      <a:cubicBezTo>
                        <a:pt x="1456508" y="811409"/>
                        <a:pt x="1449295" y="807055"/>
                        <a:pt x="1442897" y="801753"/>
                      </a:cubicBezTo>
                      <a:cubicBezTo>
                        <a:pt x="1423876" y="785981"/>
                        <a:pt x="1412564" y="761317"/>
                        <a:pt x="1413016" y="736614"/>
                      </a:cubicBezTo>
                      <a:cubicBezTo>
                        <a:pt x="1413099" y="732027"/>
                        <a:pt x="1413540" y="727274"/>
                        <a:pt x="1411885" y="722998"/>
                      </a:cubicBezTo>
                      <a:cubicBezTo>
                        <a:pt x="1408581" y="714475"/>
                        <a:pt x="1398638" y="711125"/>
                        <a:pt x="1390899" y="706260"/>
                      </a:cubicBezTo>
                      <a:cubicBezTo>
                        <a:pt x="1383160" y="701395"/>
                        <a:pt x="1376954" y="689941"/>
                        <a:pt x="1383677" y="683753"/>
                      </a:cubicBezTo>
                      <a:cubicBezTo>
                        <a:pt x="1375669" y="657183"/>
                        <a:pt x="1353693" y="620842"/>
                        <a:pt x="1345685" y="594274"/>
                      </a:cubicBezTo>
                      <a:cubicBezTo>
                        <a:pt x="1341666" y="580939"/>
                        <a:pt x="1337396" y="567143"/>
                        <a:pt x="1328134" y="556741"/>
                      </a:cubicBezTo>
                      <a:cubicBezTo>
                        <a:pt x="1317241" y="544505"/>
                        <a:pt x="1300960" y="538643"/>
                        <a:pt x="1288166" y="528407"/>
                      </a:cubicBezTo>
                      <a:cubicBezTo>
                        <a:pt x="1265432" y="510215"/>
                        <a:pt x="1256081" y="480619"/>
                        <a:pt x="1244061" y="454098"/>
                      </a:cubicBezTo>
                      <a:cubicBezTo>
                        <a:pt x="1232047" y="427576"/>
                        <a:pt x="1212472" y="400120"/>
                        <a:pt x="1183568" y="396617"/>
                      </a:cubicBezTo>
                      <a:cubicBezTo>
                        <a:pt x="1196853" y="391025"/>
                        <a:pt x="1212658" y="391811"/>
                        <a:pt x="1225322" y="398690"/>
                      </a:cubicBezTo>
                      <a:cubicBezTo>
                        <a:pt x="1210556" y="365894"/>
                        <a:pt x="1213570" y="325707"/>
                        <a:pt x="1233062" y="295479"/>
                      </a:cubicBezTo>
                      <a:cubicBezTo>
                        <a:pt x="1241832" y="281879"/>
                        <a:pt x="1254246" y="266112"/>
                        <a:pt x="1247275" y="251506"/>
                      </a:cubicBezTo>
                      <a:cubicBezTo>
                        <a:pt x="1243152" y="242869"/>
                        <a:pt x="1233416" y="238393"/>
                        <a:pt x="1227805" y="230641"/>
                      </a:cubicBezTo>
                      <a:cubicBezTo>
                        <a:pt x="1216057" y="214416"/>
                        <a:pt x="1226081" y="192029"/>
                        <a:pt x="1235599" y="174404"/>
                      </a:cubicBezTo>
                      <a:cubicBezTo>
                        <a:pt x="1245118" y="156779"/>
                        <a:pt x="1253287" y="132946"/>
                        <a:pt x="1239323" y="118582"/>
                      </a:cubicBezTo>
                      <a:cubicBezTo>
                        <a:pt x="1249211" y="95509"/>
                        <a:pt x="1217053" y="62398"/>
                        <a:pt x="1196105" y="76228"/>
                      </a:cubicBezTo>
                      <a:cubicBezTo>
                        <a:pt x="1188116" y="45499"/>
                        <a:pt x="1149978" y="26756"/>
                        <a:pt x="1120769" y="39204"/>
                      </a:cubicBezTo>
                      <a:cubicBezTo>
                        <a:pt x="1104335" y="35068"/>
                        <a:pt x="1093064" y="16487"/>
                        <a:pt x="1096985" y="0"/>
                      </a:cubicBezTo>
                      <a:cubicBezTo>
                        <a:pt x="1077503" y="762"/>
                        <a:pt x="1058018" y="1522"/>
                        <a:pt x="1038536" y="2283"/>
                      </a:cubicBezTo>
                      <a:cubicBezTo>
                        <a:pt x="1024350" y="2837"/>
                        <a:pt x="1009684" y="3506"/>
                        <a:pt x="996938" y="9755"/>
                      </a:cubicBezTo>
                      <a:cubicBezTo>
                        <a:pt x="984190" y="16004"/>
                        <a:pt x="973812" y="29425"/>
                        <a:pt x="975723" y="43494"/>
                      </a:cubicBezTo>
                      <a:cubicBezTo>
                        <a:pt x="977953" y="59913"/>
                        <a:pt x="994544" y="69706"/>
                        <a:pt x="1005095" y="82484"/>
                      </a:cubicBezTo>
                      <a:cubicBezTo>
                        <a:pt x="1015644" y="95260"/>
                        <a:pt x="1014950" y="121217"/>
                        <a:pt x="998390" y="121810"/>
                      </a:cubicBezTo>
                      <a:cubicBezTo>
                        <a:pt x="1022397" y="126685"/>
                        <a:pt x="1027293" y="166704"/>
                        <a:pt x="1005170" y="177223"/>
                      </a:cubicBezTo>
                      <a:cubicBezTo>
                        <a:pt x="980477" y="168422"/>
                        <a:pt x="965392" y="138795"/>
                        <a:pt x="972803" y="113650"/>
                      </a:cubicBezTo>
                      <a:cubicBezTo>
                        <a:pt x="949682" y="131664"/>
                        <a:pt x="941266" y="166203"/>
                        <a:pt x="953511" y="192833"/>
                      </a:cubicBezTo>
                      <a:cubicBezTo>
                        <a:pt x="938617" y="192899"/>
                        <a:pt x="923720" y="192965"/>
                        <a:pt x="908826" y="193030"/>
                      </a:cubicBezTo>
                      <a:cubicBezTo>
                        <a:pt x="902454" y="206930"/>
                        <a:pt x="901789" y="222652"/>
                        <a:pt x="898811" y="237650"/>
                      </a:cubicBezTo>
                      <a:cubicBezTo>
                        <a:pt x="895830" y="252648"/>
                        <a:pt x="889434" y="268389"/>
                        <a:pt x="876038" y="275761"/>
                      </a:cubicBezTo>
                      <a:cubicBezTo>
                        <a:pt x="862641" y="283135"/>
                        <a:pt x="841647" y="276379"/>
                        <a:pt x="840160" y="261161"/>
                      </a:cubicBezTo>
                      <a:cubicBezTo>
                        <a:pt x="838536" y="244504"/>
                        <a:pt x="859079" y="227094"/>
                        <a:pt x="848780" y="213897"/>
                      </a:cubicBezTo>
                      <a:cubicBezTo>
                        <a:pt x="845767" y="210034"/>
                        <a:pt x="840785" y="208198"/>
                        <a:pt x="835922" y="207604"/>
                      </a:cubicBezTo>
                      <a:cubicBezTo>
                        <a:pt x="814500" y="204985"/>
                        <a:pt x="794008" y="227377"/>
                        <a:pt x="798514" y="248484"/>
                      </a:cubicBezTo>
                      <a:cubicBezTo>
                        <a:pt x="802203" y="265764"/>
                        <a:pt x="816765" y="288400"/>
                        <a:pt x="801212" y="296783"/>
                      </a:cubicBezTo>
                      <a:cubicBezTo>
                        <a:pt x="788932" y="303402"/>
                        <a:pt x="776580" y="288306"/>
                        <a:pt x="770708" y="275654"/>
                      </a:cubicBezTo>
                      <a:cubicBezTo>
                        <a:pt x="757381" y="295972"/>
                        <a:pt x="744054" y="316289"/>
                        <a:pt x="730725" y="336606"/>
                      </a:cubicBezTo>
                      <a:cubicBezTo>
                        <a:pt x="727801" y="341067"/>
                        <a:pt x="724799" y="345722"/>
                        <a:pt x="724080" y="351008"/>
                      </a:cubicBezTo>
                      <a:cubicBezTo>
                        <a:pt x="723277" y="356913"/>
                        <a:pt x="725422" y="362772"/>
                        <a:pt x="727456" y="368372"/>
                      </a:cubicBezTo>
                      <a:cubicBezTo>
                        <a:pt x="737512" y="396056"/>
                        <a:pt x="742465" y="433721"/>
                        <a:pt x="717258" y="448960"/>
                      </a:cubicBezTo>
                      <a:cubicBezTo>
                        <a:pt x="691702" y="464412"/>
                        <a:pt x="653326" y="443165"/>
                        <a:pt x="630864" y="462844"/>
                      </a:cubicBezTo>
                      <a:cubicBezTo>
                        <a:pt x="612643" y="450829"/>
                        <a:pt x="602472" y="427682"/>
                        <a:pt x="605949" y="406135"/>
                      </a:cubicBezTo>
                      <a:cubicBezTo>
                        <a:pt x="627694" y="406167"/>
                        <a:pt x="655033" y="402316"/>
                        <a:pt x="661347" y="381506"/>
                      </a:cubicBezTo>
                      <a:cubicBezTo>
                        <a:pt x="623152" y="353014"/>
                        <a:pt x="569661" y="326215"/>
                        <a:pt x="531108" y="354221"/>
                      </a:cubicBezTo>
                      <a:cubicBezTo>
                        <a:pt x="536812" y="364234"/>
                        <a:pt x="547758" y="369844"/>
                        <a:pt x="556290" y="377591"/>
                      </a:cubicBezTo>
                      <a:cubicBezTo>
                        <a:pt x="585588" y="404195"/>
                        <a:pt x="582556" y="450282"/>
                        <a:pt x="577200" y="489493"/>
                      </a:cubicBezTo>
                      <a:cubicBezTo>
                        <a:pt x="595183" y="484153"/>
                        <a:pt x="618411" y="480429"/>
                        <a:pt x="629403" y="495629"/>
                      </a:cubicBezTo>
                      <a:cubicBezTo>
                        <a:pt x="642460" y="513681"/>
                        <a:pt x="627713" y="546569"/>
                        <a:pt x="647206" y="557358"/>
                      </a:cubicBezTo>
                      <a:cubicBezTo>
                        <a:pt x="631454" y="547000"/>
                        <a:pt x="610936" y="544248"/>
                        <a:pt x="593015" y="550091"/>
                      </a:cubicBezTo>
                      <a:cubicBezTo>
                        <a:pt x="591403" y="541007"/>
                        <a:pt x="589790" y="531924"/>
                        <a:pt x="588179" y="522840"/>
                      </a:cubicBezTo>
                      <a:cubicBezTo>
                        <a:pt x="567673" y="518821"/>
                        <a:pt x="548926" y="535798"/>
                        <a:pt x="538258" y="553764"/>
                      </a:cubicBezTo>
                      <a:cubicBezTo>
                        <a:pt x="527589" y="571728"/>
                        <a:pt x="520462" y="592648"/>
                        <a:pt x="504448" y="606071"/>
                      </a:cubicBezTo>
                      <a:cubicBezTo>
                        <a:pt x="491033" y="617312"/>
                        <a:pt x="469815" y="627942"/>
                        <a:pt x="474205" y="644883"/>
                      </a:cubicBezTo>
                      <a:cubicBezTo>
                        <a:pt x="495100" y="641902"/>
                        <a:pt x="515778" y="662740"/>
                        <a:pt x="512638" y="683611"/>
                      </a:cubicBezTo>
                      <a:cubicBezTo>
                        <a:pt x="535740" y="691047"/>
                        <a:pt x="555716" y="707746"/>
                        <a:pt x="567127" y="729164"/>
                      </a:cubicBezTo>
                      <a:cubicBezTo>
                        <a:pt x="517219" y="720716"/>
                        <a:pt x="449567" y="723006"/>
                        <a:pt x="400552" y="710363"/>
                      </a:cubicBezTo>
                      <a:cubicBezTo>
                        <a:pt x="396957" y="719185"/>
                        <a:pt x="393363" y="728005"/>
                        <a:pt x="389767" y="736825"/>
                      </a:cubicBezTo>
                      <a:cubicBezTo>
                        <a:pt x="425755" y="740628"/>
                        <a:pt x="471466" y="753933"/>
                        <a:pt x="473626" y="790060"/>
                      </a:cubicBezTo>
                      <a:cubicBezTo>
                        <a:pt x="473918" y="794931"/>
                        <a:pt x="473033" y="800330"/>
                        <a:pt x="469325" y="803504"/>
                      </a:cubicBezTo>
                      <a:cubicBezTo>
                        <a:pt x="466028" y="806324"/>
                        <a:pt x="461334" y="806699"/>
                        <a:pt x="456996" y="806684"/>
                      </a:cubicBezTo>
                      <a:cubicBezTo>
                        <a:pt x="436210" y="806605"/>
                        <a:pt x="415483" y="800439"/>
                        <a:pt x="398036" y="789143"/>
                      </a:cubicBezTo>
                      <a:cubicBezTo>
                        <a:pt x="384904" y="780642"/>
                        <a:pt x="364000" y="770979"/>
                        <a:pt x="357215" y="785073"/>
                      </a:cubicBezTo>
                      <a:cubicBezTo>
                        <a:pt x="330040" y="769159"/>
                        <a:pt x="310593" y="740659"/>
                        <a:pt x="305689" y="709549"/>
                      </a:cubicBezTo>
                      <a:cubicBezTo>
                        <a:pt x="303206" y="693807"/>
                        <a:pt x="304105" y="677026"/>
                        <a:pt x="296812" y="662857"/>
                      </a:cubicBezTo>
                      <a:cubicBezTo>
                        <a:pt x="289518" y="648689"/>
                        <a:pt x="269096" y="639543"/>
                        <a:pt x="257512" y="650488"/>
                      </a:cubicBezTo>
                      <a:cubicBezTo>
                        <a:pt x="260898" y="634200"/>
                        <a:pt x="240245" y="624586"/>
                        <a:pt x="224142" y="620413"/>
                      </a:cubicBezTo>
                      <a:cubicBezTo>
                        <a:pt x="208035" y="616241"/>
                        <a:pt x="188089" y="603563"/>
                        <a:pt x="194553" y="588232"/>
                      </a:cubicBezTo>
                      <a:cubicBezTo>
                        <a:pt x="199331" y="576901"/>
                        <a:pt x="215734" y="575922"/>
                        <a:pt x="226669" y="581542"/>
                      </a:cubicBezTo>
                      <a:cubicBezTo>
                        <a:pt x="237604" y="587165"/>
                        <a:pt x="245838" y="597093"/>
                        <a:pt x="256722" y="602813"/>
                      </a:cubicBezTo>
                      <a:cubicBezTo>
                        <a:pt x="291621" y="621155"/>
                        <a:pt x="339425" y="590804"/>
                        <a:pt x="372119" y="612836"/>
                      </a:cubicBezTo>
                      <a:cubicBezTo>
                        <a:pt x="379393" y="617738"/>
                        <a:pt x="385161" y="624925"/>
                        <a:pt x="393190" y="628460"/>
                      </a:cubicBezTo>
                      <a:cubicBezTo>
                        <a:pt x="407816" y="634897"/>
                        <a:pt x="425097" y="627054"/>
                        <a:pt x="436527" y="615885"/>
                      </a:cubicBezTo>
                      <a:cubicBezTo>
                        <a:pt x="447956" y="604716"/>
                        <a:pt x="455934" y="590377"/>
                        <a:pt x="467531" y="579379"/>
                      </a:cubicBezTo>
                      <a:cubicBezTo>
                        <a:pt x="480524" y="567061"/>
                        <a:pt x="498429" y="558329"/>
                        <a:pt x="504810" y="541601"/>
                      </a:cubicBezTo>
                      <a:cubicBezTo>
                        <a:pt x="508869" y="530958"/>
                        <a:pt x="507334" y="519104"/>
                        <a:pt x="505742" y="507827"/>
                      </a:cubicBezTo>
                      <a:cubicBezTo>
                        <a:pt x="501389" y="476994"/>
                        <a:pt x="486922" y="437420"/>
                        <a:pt x="455879" y="439855"/>
                      </a:cubicBezTo>
                      <a:cubicBezTo>
                        <a:pt x="447358" y="440524"/>
                        <a:pt x="439498" y="444664"/>
                        <a:pt x="431103" y="446278"/>
                      </a:cubicBezTo>
                      <a:cubicBezTo>
                        <a:pt x="393533" y="453502"/>
                        <a:pt x="366316" y="411541"/>
                        <a:pt x="331230" y="396289"/>
                      </a:cubicBezTo>
                      <a:cubicBezTo>
                        <a:pt x="289624" y="378202"/>
                        <a:pt x="240492" y="399666"/>
                        <a:pt x="196490" y="388621"/>
                      </a:cubicBezTo>
                      <a:cubicBezTo>
                        <a:pt x="163491" y="380337"/>
                        <a:pt x="132094" y="353990"/>
                        <a:pt x="99517" y="363802"/>
                      </a:cubicBezTo>
                      <a:cubicBezTo>
                        <a:pt x="89621" y="366783"/>
                        <a:pt x="80773" y="373133"/>
                        <a:pt x="74781" y="381555"/>
                      </a:cubicBezTo>
                      <a:cubicBezTo>
                        <a:pt x="72464" y="378763"/>
                        <a:pt x="70334" y="375823"/>
                        <a:pt x="68376" y="372773"/>
                      </a:cubicBezTo>
                      <a:cubicBezTo>
                        <a:pt x="49497" y="376685"/>
                        <a:pt x="33186" y="384450"/>
                        <a:pt x="21249" y="395651"/>
                      </a:cubicBezTo>
                      <a:cubicBezTo>
                        <a:pt x="7002" y="409015"/>
                        <a:pt x="-905" y="427367"/>
                        <a:pt x="83" y="444730"/>
                      </a:cubicBezTo>
                      <a:cubicBezTo>
                        <a:pt x="1283" y="465442"/>
                        <a:pt x="14470" y="486102"/>
                        <a:pt x="39297" y="506137"/>
                      </a:cubicBezTo>
                      <a:cubicBezTo>
                        <a:pt x="48737" y="513761"/>
                        <a:pt x="60484" y="523241"/>
                        <a:pt x="60547" y="537214"/>
                      </a:cubicBezTo>
                      <a:cubicBezTo>
                        <a:pt x="60578" y="543823"/>
                        <a:pt x="57807" y="549677"/>
                        <a:pt x="55354" y="554845"/>
                      </a:cubicBezTo>
                      <a:lnTo>
                        <a:pt x="53767" y="558292"/>
                      </a:lnTo>
                      <a:cubicBezTo>
                        <a:pt x="48081" y="571046"/>
                        <a:pt x="46430" y="585616"/>
                        <a:pt x="49099" y="599317"/>
                      </a:cubicBezTo>
                      <a:cubicBezTo>
                        <a:pt x="49582" y="601832"/>
                        <a:pt x="50342" y="605001"/>
                        <a:pt x="51950" y="607301"/>
                      </a:cubicBezTo>
                      <a:cubicBezTo>
                        <a:pt x="53488" y="609511"/>
                        <a:pt x="56004" y="611308"/>
                        <a:pt x="58676" y="613212"/>
                      </a:cubicBezTo>
                      <a:lnTo>
                        <a:pt x="59873" y="614071"/>
                      </a:lnTo>
                      <a:cubicBezTo>
                        <a:pt x="77707" y="626960"/>
                        <a:pt x="92025" y="645320"/>
                        <a:pt x="100173" y="665758"/>
                      </a:cubicBezTo>
                      <a:cubicBezTo>
                        <a:pt x="105696" y="679613"/>
                        <a:pt x="107208" y="692127"/>
                        <a:pt x="104681" y="702965"/>
                      </a:cubicBezTo>
                      <a:cubicBezTo>
                        <a:pt x="103790" y="706768"/>
                        <a:pt x="102420" y="710326"/>
                        <a:pt x="101101" y="713764"/>
                      </a:cubicBezTo>
                      <a:cubicBezTo>
                        <a:pt x="99446" y="718064"/>
                        <a:pt x="97885" y="722124"/>
                        <a:pt x="97419" y="726219"/>
                      </a:cubicBezTo>
                      <a:cubicBezTo>
                        <a:pt x="96692" y="732664"/>
                        <a:pt x="98677" y="739403"/>
                        <a:pt x="100938" y="745720"/>
                      </a:cubicBezTo>
                      <a:cubicBezTo>
                        <a:pt x="109928" y="770760"/>
                        <a:pt x="124653" y="793901"/>
                        <a:pt x="143526" y="812645"/>
                      </a:cubicBezTo>
                      <a:lnTo>
                        <a:pt x="144286" y="813405"/>
                      </a:lnTo>
                      <a:cubicBezTo>
                        <a:pt x="150466" y="819521"/>
                        <a:pt x="157466" y="826456"/>
                        <a:pt x="158234" y="836287"/>
                      </a:cubicBezTo>
                      <a:cubicBezTo>
                        <a:pt x="158840" y="844050"/>
                        <a:pt x="154172" y="851691"/>
                        <a:pt x="146330" y="855760"/>
                      </a:cubicBezTo>
                      <a:cubicBezTo>
                        <a:pt x="140984" y="858514"/>
                        <a:pt x="135154" y="859138"/>
                        <a:pt x="130043" y="857670"/>
                      </a:cubicBezTo>
                      <a:lnTo>
                        <a:pt x="128539" y="862285"/>
                      </a:lnTo>
                      <a:lnTo>
                        <a:pt x="205780" y="899666"/>
                      </a:lnTo>
                      <a:cubicBezTo>
                        <a:pt x="226562" y="909729"/>
                        <a:pt x="236178" y="923164"/>
                        <a:pt x="232154" y="936531"/>
                      </a:cubicBezTo>
                      <a:lnTo>
                        <a:pt x="231324" y="939289"/>
                      </a:lnTo>
                      <a:lnTo>
                        <a:pt x="228558" y="940090"/>
                      </a:lnTo>
                      <a:cubicBezTo>
                        <a:pt x="220085" y="942553"/>
                        <a:pt x="213510" y="949817"/>
                        <a:pt x="207659" y="957298"/>
                      </a:cubicBezTo>
                      <a:cubicBezTo>
                        <a:pt x="193932" y="974848"/>
                        <a:pt x="182505" y="994606"/>
                        <a:pt x="171459" y="1013716"/>
                      </a:cubicBezTo>
                      <a:cubicBezTo>
                        <a:pt x="170783" y="1014880"/>
                        <a:pt x="169385" y="1017300"/>
                        <a:pt x="169632" y="1018388"/>
                      </a:cubicBezTo>
                      <a:cubicBezTo>
                        <a:pt x="169759" y="1018952"/>
                        <a:pt x="170501" y="1019954"/>
                        <a:pt x="171160" y="1020840"/>
                      </a:cubicBezTo>
                      <a:cubicBezTo>
                        <a:pt x="172466" y="1022604"/>
                        <a:pt x="174096" y="1024804"/>
                        <a:pt x="174606" y="1027831"/>
                      </a:cubicBezTo>
                      <a:cubicBezTo>
                        <a:pt x="176305" y="1037990"/>
                        <a:pt x="165997" y="1041316"/>
                        <a:pt x="159849" y="1043301"/>
                      </a:cubicBezTo>
                      <a:cubicBezTo>
                        <a:pt x="157444" y="1044079"/>
                        <a:pt x="154958" y="1044879"/>
                        <a:pt x="153217" y="1045833"/>
                      </a:cubicBezTo>
                      <a:cubicBezTo>
                        <a:pt x="150373" y="1047386"/>
                        <a:pt x="148331" y="1050654"/>
                        <a:pt x="145972" y="1054764"/>
                      </a:cubicBezTo>
                      <a:lnTo>
                        <a:pt x="97711" y="1138563"/>
                      </a:lnTo>
                      <a:cubicBezTo>
                        <a:pt x="101548" y="1139195"/>
                        <a:pt x="105294" y="1140034"/>
                        <a:pt x="108751" y="1141054"/>
                      </a:cubicBezTo>
                      <a:cubicBezTo>
                        <a:pt x="114938" y="1142879"/>
                        <a:pt x="121123" y="1144702"/>
                        <a:pt x="127310" y="1146527"/>
                      </a:cubicBezTo>
                      <a:cubicBezTo>
                        <a:pt x="128542" y="1154086"/>
                        <a:pt x="129772" y="1161643"/>
                        <a:pt x="131003" y="1169200"/>
                      </a:cubicBezTo>
                      <a:cubicBezTo>
                        <a:pt x="163292" y="1155324"/>
                        <a:pt x="203353" y="1161851"/>
                        <a:pt x="229569" y="1185259"/>
                      </a:cubicBezTo>
                      <a:cubicBezTo>
                        <a:pt x="197067" y="1187713"/>
                        <a:pt x="165216" y="1198361"/>
                        <a:pt x="137772" y="1215950"/>
                      </a:cubicBezTo>
                      <a:cubicBezTo>
                        <a:pt x="133690" y="1221324"/>
                        <a:pt x="128936" y="1225779"/>
                        <a:pt x="123713" y="1229555"/>
                      </a:cubicBezTo>
                      <a:cubicBezTo>
                        <a:pt x="132680" y="1234262"/>
                        <a:pt x="138448" y="1244692"/>
                        <a:pt x="137147" y="1254820"/>
                      </a:cubicBezTo>
                      <a:cubicBezTo>
                        <a:pt x="136384" y="1260751"/>
                        <a:pt x="133662" y="1265679"/>
                        <a:pt x="131028" y="1270441"/>
                      </a:cubicBezTo>
                      <a:lnTo>
                        <a:pt x="129414" y="1273402"/>
                      </a:lnTo>
                      <a:cubicBezTo>
                        <a:pt x="123052" y="1285509"/>
                        <a:pt x="119386" y="1302908"/>
                        <a:pt x="128229" y="1315429"/>
                      </a:cubicBezTo>
                      <a:cubicBezTo>
                        <a:pt x="128826" y="1316284"/>
                        <a:pt x="129485" y="1317120"/>
                        <a:pt x="130141" y="1317964"/>
                      </a:cubicBezTo>
                      <a:cubicBezTo>
                        <a:pt x="132762" y="1321316"/>
                        <a:pt x="135739" y="1325121"/>
                        <a:pt x="136293" y="1330297"/>
                      </a:cubicBezTo>
                      <a:cubicBezTo>
                        <a:pt x="136562" y="1332872"/>
                        <a:pt x="136155" y="1335202"/>
                        <a:pt x="135787" y="1337257"/>
                      </a:cubicBezTo>
                      <a:cubicBezTo>
                        <a:pt x="135548" y="1338619"/>
                        <a:pt x="135321" y="1339903"/>
                        <a:pt x="135369" y="1340947"/>
                      </a:cubicBezTo>
                      <a:cubicBezTo>
                        <a:pt x="135446" y="1342757"/>
                        <a:pt x="136351" y="1344839"/>
                        <a:pt x="137319" y="1347045"/>
                      </a:cubicBezTo>
                      <a:lnTo>
                        <a:pt x="138435" y="1349679"/>
                      </a:lnTo>
                      <a:cubicBezTo>
                        <a:pt x="144424" y="1364711"/>
                        <a:pt x="139917" y="1383118"/>
                        <a:pt x="128469" y="1394409"/>
                      </a:cubicBezTo>
                      <a:cubicBezTo>
                        <a:pt x="143735" y="1405208"/>
                        <a:pt x="148331" y="1427875"/>
                        <a:pt x="142312" y="1444831"/>
                      </a:cubicBezTo>
                      <a:cubicBezTo>
                        <a:pt x="141481" y="1447149"/>
                        <a:pt x="140550" y="1449727"/>
                        <a:pt x="140970" y="1450583"/>
                      </a:cubicBezTo>
                      <a:cubicBezTo>
                        <a:pt x="141255" y="1451148"/>
                        <a:pt x="142625" y="1451982"/>
                        <a:pt x="143738" y="1452650"/>
                      </a:cubicBezTo>
                      <a:cubicBezTo>
                        <a:pt x="144765" y="1453268"/>
                        <a:pt x="145784" y="1453896"/>
                        <a:pt x="146711" y="1454603"/>
                      </a:cubicBezTo>
                      <a:cubicBezTo>
                        <a:pt x="156125" y="1461780"/>
                        <a:pt x="154836" y="1473150"/>
                        <a:pt x="153699" y="1483181"/>
                      </a:cubicBezTo>
                      <a:cubicBezTo>
                        <a:pt x="152992" y="1489413"/>
                        <a:pt x="152263" y="1495857"/>
                        <a:pt x="154099" y="1500689"/>
                      </a:cubicBezTo>
                      <a:cubicBezTo>
                        <a:pt x="156968" y="1508213"/>
                        <a:pt x="166319" y="1512243"/>
                        <a:pt x="174157" y="1514911"/>
                      </a:cubicBezTo>
                      <a:cubicBezTo>
                        <a:pt x="186030" y="1518969"/>
                        <a:pt x="198320" y="1522123"/>
                        <a:pt x="210675" y="1524288"/>
                      </a:cubicBezTo>
                      <a:cubicBezTo>
                        <a:pt x="227257" y="1529970"/>
                        <a:pt x="243732" y="1533813"/>
                        <a:pt x="260369" y="1535892"/>
                      </a:cubicBezTo>
                      <a:cubicBezTo>
                        <a:pt x="263334" y="1530046"/>
                        <a:pt x="269114" y="1525592"/>
                        <a:pt x="276361" y="1523811"/>
                      </a:cubicBezTo>
                      <a:cubicBezTo>
                        <a:pt x="285404" y="1521596"/>
                        <a:pt x="294329" y="1524111"/>
                        <a:pt x="299702" y="1530364"/>
                      </a:cubicBezTo>
                      <a:lnTo>
                        <a:pt x="300682" y="1531510"/>
                      </a:lnTo>
                      <a:lnTo>
                        <a:pt x="300912" y="1532999"/>
                      </a:lnTo>
                      <a:cubicBezTo>
                        <a:pt x="304801" y="1557885"/>
                        <a:pt x="310253" y="1582808"/>
                        <a:pt x="317127" y="1607073"/>
                      </a:cubicBezTo>
                      <a:cubicBezTo>
                        <a:pt x="320536" y="1619103"/>
                        <a:pt x="324969" y="1625326"/>
                        <a:pt x="330693" y="1626096"/>
                      </a:cubicBezTo>
                      <a:cubicBezTo>
                        <a:pt x="331926" y="1626251"/>
                        <a:pt x="333189" y="1626192"/>
                        <a:pt x="334479" y="1626150"/>
                      </a:cubicBezTo>
                      <a:cubicBezTo>
                        <a:pt x="337035" y="1626060"/>
                        <a:pt x="340002" y="1625954"/>
                        <a:pt x="343060" y="1626996"/>
                      </a:cubicBezTo>
                      <a:cubicBezTo>
                        <a:pt x="350142" y="1629410"/>
                        <a:pt x="353099" y="1636029"/>
                        <a:pt x="355476" y="1641347"/>
                      </a:cubicBezTo>
                      <a:cubicBezTo>
                        <a:pt x="356539" y="1643708"/>
                        <a:pt x="357528" y="1645940"/>
                        <a:pt x="358750" y="1647684"/>
                      </a:cubicBezTo>
                      <a:cubicBezTo>
                        <a:pt x="361405" y="1651486"/>
                        <a:pt x="366267" y="1654123"/>
                        <a:pt x="370543" y="1656448"/>
                      </a:cubicBezTo>
                      <a:lnTo>
                        <a:pt x="422691" y="1684811"/>
                      </a:lnTo>
                      <a:cubicBezTo>
                        <a:pt x="425785" y="1686501"/>
                        <a:pt x="430467" y="1689045"/>
                        <a:pt x="432462" y="1694114"/>
                      </a:cubicBezTo>
                      <a:cubicBezTo>
                        <a:pt x="434117" y="1698287"/>
                        <a:pt x="433217" y="1702579"/>
                        <a:pt x="432639" y="1705423"/>
                      </a:cubicBezTo>
                      <a:cubicBezTo>
                        <a:pt x="429784" y="1719258"/>
                        <a:pt x="426230" y="1736479"/>
                        <a:pt x="414769" y="1748754"/>
                      </a:cubicBezTo>
                      <a:cubicBezTo>
                        <a:pt x="412418" y="1751269"/>
                        <a:pt x="409789" y="1753497"/>
                        <a:pt x="407158" y="1755721"/>
                      </a:cubicBezTo>
                      <a:cubicBezTo>
                        <a:pt x="404702" y="1757793"/>
                        <a:pt x="402235" y="1759848"/>
                        <a:pt x="400091" y="1762232"/>
                      </a:cubicBezTo>
                      <a:cubicBezTo>
                        <a:pt x="394426" y="1768490"/>
                        <a:pt x="391630" y="1777463"/>
                        <a:pt x="392403" y="1786855"/>
                      </a:cubicBezTo>
                      <a:cubicBezTo>
                        <a:pt x="393168" y="1796250"/>
                        <a:pt x="397398" y="1804648"/>
                        <a:pt x="403996" y="1809905"/>
                      </a:cubicBezTo>
                      <a:cubicBezTo>
                        <a:pt x="406035" y="1811523"/>
                        <a:pt x="408289" y="1812960"/>
                        <a:pt x="410536" y="1814403"/>
                      </a:cubicBezTo>
                      <a:cubicBezTo>
                        <a:pt x="413244" y="1816140"/>
                        <a:pt x="416090" y="1818025"/>
                        <a:pt x="418714" y="1820229"/>
                      </a:cubicBezTo>
                      <a:cubicBezTo>
                        <a:pt x="437753" y="1814563"/>
                        <a:pt x="455322" y="1810491"/>
                        <a:pt x="472264" y="1807884"/>
                      </a:cubicBezTo>
                      <a:cubicBezTo>
                        <a:pt x="477688" y="1807052"/>
                        <a:pt x="483123" y="1806359"/>
                        <a:pt x="488580" y="1805988"/>
                      </a:cubicBezTo>
                      <a:cubicBezTo>
                        <a:pt x="506228" y="1804816"/>
                        <a:pt x="524459" y="1807126"/>
                        <a:pt x="541245" y="1812710"/>
                      </a:cubicBezTo>
                      <a:lnTo>
                        <a:pt x="545061" y="1813981"/>
                      </a:lnTo>
                      <a:lnTo>
                        <a:pt x="542536" y="1866232"/>
                      </a:lnTo>
                      <a:cubicBezTo>
                        <a:pt x="542376" y="1869712"/>
                        <a:pt x="542196" y="1873312"/>
                        <a:pt x="543405" y="1875978"/>
                      </a:cubicBezTo>
                      <a:cubicBezTo>
                        <a:pt x="545582" y="1880797"/>
                        <a:pt x="552279" y="1882867"/>
                        <a:pt x="557510" y="1883759"/>
                      </a:cubicBezTo>
                      <a:cubicBezTo>
                        <a:pt x="566738" y="1885319"/>
                        <a:pt x="576405" y="1885014"/>
                        <a:pt x="585501" y="1882923"/>
                      </a:cubicBezTo>
                      <a:cubicBezTo>
                        <a:pt x="586895" y="1882603"/>
                        <a:pt x="588278" y="1882241"/>
                        <a:pt x="589671" y="1881878"/>
                      </a:cubicBezTo>
                      <a:cubicBezTo>
                        <a:pt x="595628" y="1880333"/>
                        <a:pt x="602368" y="1878587"/>
                        <a:pt x="609340" y="1879931"/>
                      </a:cubicBezTo>
                      <a:cubicBezTo>
                        <a:pt x="619614" y="1881933"/>
                        <a:pt x="632280" y="1890716"/>
                        <a:pt x="635926" y="1920637"/>
                      </a:cubicBezTo>
                      <a:cubicBezTo>
                        <a:pt x="651764" y="1919648"/>
                        <a:pt x="668157" y="1920881"/>
                        <a:pt x="678489" y="1931935"/>
                      </a:cubicBezTo>
                      <a:cubicBezTo>
                        <a:pt x="682848" y="1930893"/>
                        <a:pt x="686969" y="1927464"/>
                        <a:pt x="691285" y="1923868"/>
                      </a:cubicBezTo>
                      <a:cubicBezTo>
                        <a:pt x="692838" y="1922574"/>
                        <a:pt x="694379" y="1921292"/>
                        <a:pt x="695942" y="1920105"/>
                      </a:cubicBezTo>
                      <a:cubicBezTo>
                        <a:pt x="700941" y="1916302"/>
                        <a:pt x="709022" y="1912648"/>
                        <a:pt x="716830" y="1913743"/>
                      </a:cubicBezTo>
                      <a:cubicBezTo>
                        <a:pt x="721271" y="1914378"/>
                        <a:pt x="724960" y="1916526"/>
                        <a:pt x="727497" y="1919952"/>
                      </a:cubicBezTo>
                      <a:cubicBezTo>
                        <a:pt x="728439" y="1921227"/>
                        <a:pt x="729204" y="1922701"/>
                        <a:pt x="729931" y="1924180"/>
                      </a:cubicBezTo>
                      <a:cubicBezTo>
                        <a:pt x="730445" y="1925214"/>
                        <a:pt x="731307" y="1926951"/>
                        <a:pt x="731762" y="1927149"/>
                      </a:cubicBezTo>
                      <a:cubicBezTo>
                        <a:pt x="732209" y="1927312"/>
                        <a:pt x="733779" y="1926994"/>
                        <a:pt x="734728" y="1926801"/>
                      </a:cubicBezTo>
                      <a:cubicBezTo>
                        <a:pt x="736454" y="1926452"/>
                        <a:pt x="738591" y="1926022"/>
                        <a:pt x="740909" y="1926247"/>
                      </a:cubicBezTo>
                      <a:cubicBezTo>
                        <a:pt x="747877" y="1926958"/>
                        <a:pt x="751372" y="1932500"/>
                        <a:pt x="754188" y="1936946"/>
                      </a:cubicBezTo>
                      <a:cubicBezTo>
                        <a:pt x="755853" y="1939591"/>
                        <a:pt x="757434" y="1942088"/>
                        <a:pt x="759282" y="1943104"/>
                      </a:cubicBezTo>
                      <a:cubicBezTo>
                        <a:pt x="762023" y="1944614"/>
                        <a:pt x="765675" y="1943313"/>
                        <a:pt x="771356" y="1941027"/>
                      </a:cubicBezTo>
                      <a:cubicBezTo>
                        <a:pt x="773636" y="1940104"/>
                        <a:pt x="775915" y="1939198"/>
                        <a:pt x="778153" y="1938556"/>
                      </a:cubicBezTo>
                      <a:cubicBezTo>
                        <a:pt x="785184" y="1936564"/>
                        <a:pt x="794551" y="1940242"/>
                        <a:pt x="798154" y="1946469"/>
                      </a:cubicBezTo>
                      <a:cubicBezTo>
                        <a:pt x="798532" y="1947121"/>
                        <a:pt x="798837" y="1947782"/>
                        <a:pt x="799081" y="1948452"/>
                      </a:cubicBezTo>
                      <a:cubicBezTo>
                        <a:pt x="835138" y="1941712"/>
                        <a:pt x="874224" y="1945862"/>
                        <a:pt x="912573" y="1960587"/>
                      </a:cubicBezTo>
                      <a:cubicBezTo>
                        <a:pt x="915435" y="1961683"/>
                        <a:pt x="918425" y="1962979"/>
                        <a:pt x="920740" y="1965635"/>
                      </a:cubicBezTo>
                      <a:cubicBezTo>
                        <a:pt x="928628" y="1974718"/>
                        <a:pt x="920758" y="1984374"/>
                        <a:pt x="915006" y="1991430"/>
                      </a:cubicBezTo>
                      <a:cubicBezTo>
                        <a:pt x="913324" y="1993490"/>
                        <a:pt x="911645" y="1995530"/>
                        <a:pt x="910367" y="1997531"/>
                      </a:cubicBezTo>
                      <a:cubicBezTo>
                        <a:pt x="906369" y="2003749"/>
                        <a:pt x="906865" y="2013336"/>
                        <a:pt x="911688" y="2023173"/>
                      </a:cubicBezTo>
                      <a:cubicBezTo>
                        <a:pt x="913735" y="2027340"/>
                        <a:pt x="916257" y="2031277"/>
                        <a:pt x="918917" y="2035441"/>
                      </a:cubicBezTo>
                      <a:cubicBezTo>
                        <a:pt x="922116" y="2040433"/>
                        <a:pt x="925413" y="2045595"/>
                        <a:pt x="927919" y="2051297"/>
                      </a:cubicBezTo>
                      <a:cubicBezTo>
                        <a:pt x="933854" y="2064837"/>
                        <a:pt x="934645" y="2080676"/>
                        <a:pt x="930085" y="2094746"/>
                      </a:cubicBezTo>
                      <a:cubicBezTo>
                        <a:pt x="927304" y="2103309"/>
                        <a:pt x="919058" y="2110985"/>
                        <a:pt x="911308" y="2112231"/>
                      </a:cubicBezTo>
                      <a:cubicBezTo>
                        <a:pt x="908487" y="2112656"/>
                        <a:pt x="905838" y="2112292"/>
                        <a:pt x="903512" y="2111153"/>
                      </a:cubicBezTo>
                      <a:cubicBezTo>
                        <a:pt x="885609" y="2129262"/>
                        <a:pt x="863621" y="2143049"/>
                        <a:pt x="839489" y="2151256"/>
                      </a:cubicBezTo>
                      <a:cubicBezTo>
                        <a:pt x="837554" y="2163546"/>
                        <a:pt x="839960" y="2176461"/>
                        <a:pt x="846121" y="2187295"/>
                      </a:cubicBezTo>
                      <a:cubicBezTo>
                        <a:pt x="863874" y="2181284"/>
                        <a:pt x="883548" y="2178475"/>
                        <a:pt x="902070" y="2176395"/>
                      </a:cubicBezTo>
                      <a:cubicBezTo>
                        <a:pt x="902487" y="2189827"/>
                        <a:pt x="892121" y="2202788"/>
                        <a:pt x="878922" y="2205330"/>
                      </a:cubicBezTo>
                      <a:cubicBezTo>
                        <a:pt x="881126" y="2211896"/>
                        <a:pt x="883330" y="2218464"/>
                        <a:pt x="885535" y="2225029"/>
                      </a:cubicBezTo>
                      <a:cubicBezTo>
                        <a:pt x="875434" y="2234500"/>
                        <a:pt x="858292" y="2235195"/>
                        <a:pt x="847456" y="2226575"/>
                      </a:cubicBezTo>
                      <a:cubicBezTo>
                        <a:pt x="842230" y="2230452"/>
                        <a:pt x="838356" y="2236117"/>
                        <a:pt x="836637" y="2242391"/>
                      </a:cubicBezTo>
                      <a:cubicBezTo>
                        <a:pt x="858457" y="2248831"/>
                        <a:pt x="871735" y="2275580"/>
                        <a:pt x="863670" y="2296853"/>
                      </a:cubicBezTo>
                      <a:cubicBezTo>
                        <a:pt x="855935" y="2292781"/>
                        <a:pt x="847417" y="2302023"/>
                        <a:pt x="846017" y="2310652"/>
                      </a:cubicBezTo>
                      <a:cubicBezTo>
                        <a:pt x="844621" y="2319282"/>
                        <a:pt x="846415" y="2328766"/>
                        <a:pt x="842046" y="2336338"/>
                      </a:cubicBezTo>
                      <a:cubicBezTo>
                        <a:pt x="837664" y="2343928"/>
                        <a:pt x="827982" y="2347737"/>
                        <a:pt x="824836" y="2355916"/>
                      </a:cubicBezTo>
                      <a:cubicBezTo>
                        <a:pt x="819221" y="2370517"/>
                        <a:pt x="837718" y="2382351"/>
                        <a:pt x="852850" y="2386309"/>
                      </a:cubicBezTo>
                      <a:cubicBezTo>
                        <a:pt x="867984" y="2390269"/>
                        <a:pt x="887284" y="2398149"/>
                        <a:pt x="885809" y="2413723"/>
                      </a:cubicBezTo>
                      <a:cubicBezTo>
                        <a:pt x="917439" y="2401205"/>
                        <a:pt x="959875" y="2421342"/>
                        <a:pt x="986402" y="2446625"/>
                      </a:cubicBezTo>
                      <a:cubicBezTo>
                        <a:pt x="987434" y="2446146"/>
                        <a:pt x="988514" y="2445736"/>
                        <a:pt x="989661" y="2445434"/>
                      </a:cubicBezTo>
                      <a:cubicBezTo>
                        <a:pt x="995668" y="2443848"/>
                        <a:pt x="1002678" y="2444955"/>
                        <a:pt x="1007978" y="2448278"/>
                      </a:cubicBezTo>
                      <a:cubicBezTo>
                        <a:pt x="1015106" y="2452764"/>
                        <a:pt x="1019454" y="2459889"/>
                        <a:pt x="1022833" y="2466379"/>
                      </a:cubicBezTo>
                      <a:cubicBezTo>
                        <a:pt x="1037603" y="2462348"/>
                        <a:pt x="1049853" y="2448944"/>
                        <a:pt x="1052056" y="2433776"/>
                      </a:cubicBezTo>
                      <a:lnTo>
                        <a:pt x="1052931" y="2427719"/>
                      </a:lnTo>
                      <a:lnTo>
                        <a:pt x="1058798" y="2429453"/>
                      </a:lnTo>
                      <a:cubicBezTo>
                        <a:pt x="1067257" y="2431987"/>
                        <a:pt x="1077199" y="2428251"/>
                        <a:pt x="1081975" y="2420851"/>
                      </a:cubicBezTo>
                      <a:lnTo>
                        <a:pt x="1083416" y="2418617"/>
                      </a:lnTo>
                      <a:lnTo>
                        <a:pt x="1086062" y="2418443"/>
                      </a:lnTo>
                      <a:cubicBezTo>
                        <a:pt x="1098294" y="2417783"/>
                        <a:pt x="1102358" y="2428673"/>
                        <a:pt x="1105754" y="2437566"/>
                      </a:cubicBezTo>
                      <a:cubicBezTo>
                        <a:pt x="1107643" y="2442505"/>
                        <a:pt x="1109593" y="2447610"/>
                        <a:pt x="1112513" y="2450588"/>
                      </a:cubicBezTo>
                      <a:cubicBezTo>
                        <a:pt x="1117358" y="2455547"/>
                        <a:pt x="1126470" y="2455301"/>
                        <a:pt x="1134584" y="2454651"/>
                      </a:cubicBezTo>
                      <a:lnTo>
                        <a:pt x="1206695" y="2449002"/>
                      </a:lnTo>
                      <a:cubicBezTo>
                        <a:pt x="1233106" y="2446953"/>
                        <a:pt x="1265989" y="2444379"/>
                        <a:pt x="1293887" y="2457274"/>
                      </a:cubicBezTo>
                      <a:lnTo>
                        <a:pt x="1300716" y="2460431"/>
                      </a:lnTo>
                      <a:lnTo>
                        <a:pt x="1295442" y="2465796"/>
                      </a:lnTo>
                      <a:cubicBezTo>
                        <a:pt x="1295175" y="2466068"/>
                        <a:pt x="1294682" y="2466567"/>
                        <a:pt x="1295270" y="2468062"/>
                      </a:cubicBezTo>
                      <a:cubicBezTo>
                        <a:pt x="1296326" y="2470754"/>
                        <a:pt x="1299654" y="2473234"/>
                        <a:pt x="1302386" y="2473368"/>
                      </a:cubicBezTo>
                      <a:cubicBezTo>
                        <a:pt x="1306429" y="2473524"/>
                        <a:pt x="1310546" y="2472097"/>
                        <a:pt x="1314972" y="2470553"/>
                      </a:cubicBezTo>
                      <a:cubicBezTo>
                        <a:pt x="1318192" y="2469432"/>
                        <a:pt x="1321522" y="2468269"/>
                        <a:pt x="1325096" y="2467612"/>
                      </a:cubicBezTo>
                      <a:cubicBezTo>
                        <a:pt x="1328712" y="2466945"/>
                        <a:pt x="1332251" y="2466865"/>
                        <a:pt x="1335683" y="2466778"/>
                      </a:cubicBezTo>
                      <a:cubicBezTo>
                        <a:pt x="1339984" y="2466684"/>
                        <a:pt x="1344060" y="2466580"/>
                        <a:pt x="1347576" y="2465323"/>
                      </a:cubicBezTo>
                      <a:cubicBezTo>
                        <a:pt x="1351775" y="2463824"/>
                        <a:pt x="1355435" y="2460611"/>
                        <a:pt x="1359307" y="2457199"/>
                      </a:cubicBezTo>
                      <a:cubicBezTo>
                        <a:pt x="1362985" y="2453964"/>
                        <a:pt x="1366787" y="2450616"/>
                        <a:pt x="1371506" y="2448275"/>
                      </a:cubicBezTo>
                      <a:cubicBezTo>
                        <a:pt x="1378925" y="2444608"/>
                        <a:pt x="1389458" y="2446226"/>
                        <a:pt x="1395518" y="2451943"/>
                      </a:cubicBezTo>
                      <a:cubicBezTo>
                        <a:pt x="1396144" y="2452526"/>
                        <a:pt x="1396697" y="2453145"/>
                        <a:pt x="1397188" y="2453793"/>
                      </a:cubicBezTo>
                      <a:cubicBezTo>
                        <a:pt x="1398506" y="2453120"/>
                        <a:pt x="1399941" y="2452602"/>
                        <a:pt x="1401467" y="2452240"/>
                      </a:cubicBezTo>
                      <a:cubicBezTo>
                        <a:pt x="1412018" y="2449699"/>
                        <a:pt x="1424949" y="2455075"/>
                        <a:pt x="1432462" y="2461130"/>
                      </a:cubicBezTo>
                      <a:lnTo>
                        <a:pt x="1434499" y="2462781"/>
                      </a:lnTo>
                      <a:cubicBezTo>
                        <a:pt x="1443677" y="2470232"/>
                        <a:pt x="1454063" y="2478613"/>
                        <a:pt x="1462899" y="2474948"/>
                      </a:cubicBezTo>
                      <a:lnTo>
                        <a:pt x="1467271" y="2473107"/>
                      </a:lnTo>
                      <a:lnTo>
                        <a:pt x="1486080" y="2506838"/>
                      </a:lnTo>
                      <a:cubicBezTo>
                        <a:pt x="1487338" y="2505040"/>
                        <a:pt x="1488226" y="2501899"/>
                        <a:pt x="1489398" y="2497092"/>
                      </a:cubicBezTo>
                      <a:cubicBezTo>
                        <a:pt x="1490753" y="2491538"/>
                        <a:pt x="1492280" y="2485247"/>
                        <a:pt x="1496268" y="2480532"/>
                      </a:cubicBezTo>
                      <a:cubicBezTo>
                        <a:pt x="1505801" y="2469281"/>
                        <a:pt x="1522897" y="2471790"/>
                        <a:pt x="1541962" y="2487224"/>
                      </a:cubicBezTo>
                      <a:cubicBezTo>
                        <a:pt x="1550153" y="2493866"/>
                        <a:pt x="1560202" y="2497636"/>
                        <a:pt x="1566442" y="2496587"/>
                      </a:cubicBezTo>
                      <a:cubicBezTo>
                        <a:pt x="1568943" y="2496136"/>
                        <a:pt x="1570691" y="2494932"/>
                        <a:pt x="1571946" y="2492791"/>
                      </a:cubicBezTo>
                      <a:lnTo>
                        <a:pt x="1582700" y="2474579"/>
                      </a:lnTo>
                      <a:lnTo>
                        <a:pt x="1581795" y="2495715"/>
                      </a:lnTo>
                      <a:cubicBezTo>
                        <a:pt x="1581698" y="2498065"/>
                        <a:pt x="1582845" y="2500602"/>
                        <a:pt x="1584875" y="2502509"/>
                      </a:cubicBezTo>
                      <a:cubicBezTo>
                        <a:pt x="1586906" y="2504418"/>
                        <a:pt x="1589581" y="2505505"/>
                        <a:pt x="1591846" y="2505147"/>
                      </a:cubicBezTo>
                      <a:cubicBezTo>
                        <a:pt x="1594182" y="2504903"/>
                        <a:pt x="1596530" y="2503396"/>
                        <a:pt x="1598115" y="2501108"/>
                      </a:cubicBezTo>
                      <a:cubicBezTo>
                        <a:pt x="1599690" y="2498821"/>
                        <a:pt x="1600290" y="2496096"/>
                        <a:pt x="1599695" y="2493824"/>
                      </a:cubicBezTo>
                      <a:cubicBezTo>
                        <a:pt x="1599377" y="2492575"/>
                        <a:pt x="1598838" y="2491381"/>
                        <a:pt x="1598312" y="2490184"/>
                      </a:cubicBezTo>
                      <a:cubicBezTo>
                        <a:pt x="1597080" y="2487349"/>
                        <a:pt x="1595554" y="2483824"/>
                        <a:pt x="1595948" y="2479724"/>
                      </a:cubicBezTo>
                      <a:cubicBezTo>
                        <a:pt x="1596706" y="2471950"/>
                        <a:pt x="1603195" y="2468023"/>
                        <a:pt x="1608414" y="2464871"/>
                      </a:cubicBezTo>
                      <a:cubicBezTo>
                        <a:pt x="1612089" y="2462648"/>
                        <a:pt x="1615570" y="2460557"/>
                        <a:pt x="1616059" y="2457998"/>
                      </a:cubicBezTo>
                      <a:cubicBezTo>
                        <a:pt x="1616428" y="2456081"/>
                        <a:pt x="1615208" y="2453649"/>
                        <a:pt x="1613802" y="2450817"/>
                      </a:cubicBezTo>
                      <a:cubicBezTo>
                        <a:pt x="1612929" y="2449066"/>
                        <a:pt x="1612057" y="2447291"/>
                        <a:pt x="1611434" y="2445495"/>
                      </a:cubicBezTo>
                      <a:cubicBezTo>
                        <a:pt x="1609733" y="2440657"/>
                        <a:pt x="1610959" y="2434613"/>
                        <a:pt x="1614129" y="2430810"/>
                      </a:cubicBezTo>
                      <a:cubicBezTo>
                        <a:pt x="1584533" y="2414971"/>
                        <a:pt x="1552319" y="2403066"/>
                        <a:pt x="1528714" y="2379446"/>
                      </a:cubicBezTo>
                      <a:cubicBezTo>
                        <a:pt x="1521583" y="2372306"/>
                        <a:pt x="1515399" y="2364216"/>
                        <a:pt x="1510385" y="2355454"/>
                      </a:cubicBezTo>
                      <a:cubicBezTo>
                        <a:pt x="1498533" y="2334750"/>
                        <a:pt x="1493261" y="2310534"/>
                        <a:pt x="1479575" y="2290994"/>
                      </a:cubicBezTo>
                      <a:cubicBezTo>
                        <a:pt x="1465886" y="2271452"/>
                        <a:pt x="1438278" y="2257754"/>
                        <a:pt x="1418146" y="2270557"/>
                      </a:cubicBezTo>
                      <a:cubicBezTo>
                        <a:pt x="1421684" y="2222812"/>
                        <a:pt x="1425220" y="2175066"/>
                        <a:pt x="1428756" y="2127322"/>
                      </a:cubicBezTo>
                      <a:cubicBezTo>
                        <a:pt x="1439130" y="2127332"/>
                        <a:pt x="1449472" y="2130751"/>
                        <a:pt x="1457805" y="2136927"/>
                      </a:cubicBezTo>
                      <a:cubicBezTo>
                        <a:pt x="1471450" y="2113105"/>
                        <a:pt x="1485092" y="2089285"/>
                        <a:pt x="1498736" y="2065463"/>
                      </a:cubicBezTo>
                      <a:cubicBezTo>
                        <a:pt x="1479419" y="2065025"/>
                        <a:pt x="1462217" y="2047131"/>
                        <a:pt x="1462539" y="2027812"/>
                      </a:cubicBezTo>
                      <a:cubicBezTo>
                        <a:pt x="1473077" y="2028995"/>
                        <a:pt x="1483613" y="2030179"/>
                        <a:pt x="1494151" y="2031363"/>
                      </a:cubicBezTo>
                      <a:cubicBezTo>
                        <a:pt x="1461142" y="2009724"/>
                        <a:pt x="1425706" y="1974453"/>
                        <a:pt x="1402643" y="1942421"/>
                      </a:cubicBezTo>
                      <a:cubicBezTo>
                        <a:pt x="1395604" y="1951271"/>
                        <a:pt x="1391947" y="1962741"/>
                        <a:pt x="1392559" y="1974034"/>
                      </a:cubicBezTo>
                      <a:cubicBezTo>
                        <a:pt x="1383301" y="1984074"/>
                        <a:pt x="1366480" y="1973296"/>
                        <a:pt x="1360251" y="1961139"/>
                      </a:cubicBezTo>
                      <a:cubicBezTo>
                        <a:pt x="1354025" y="1948984"/>
                        <a:pt x="1349355" y="1933381"/>
                        <a:pt x="1336227" y="1929607"/>
                      </a:cubicBezTo>
                      <a:cubicBezTo>
                        <a:pt x="1328583" y="1927408"/>
                        <a:pt x="1320307" y="1930217"/>
                        <a:pt x="1312482" y="1928791"/>
                      </a:cubicBezTo>
                      <a:cubicBezTo>
                        <a:pt x="1292824" y="1925209"/>
                        <a:pt x="1291415" y="1890672"/>
                        <a:pt x="1310714" y="1885495"/>
                      </a:cubicBezTo>
                      <a:cubicBezTo>
                        <a:pt x="1286599" y="1860587"/>
                        <a:pt x="1284106" y="1822487"/>
                        <a:pt x="1283004" y="1787838"/>
                      </a:cubicBezTo>
                      <a:cubicBezTo>
                        <a:pt x="1282703" y="1778456"/>
                        <a:pt x="1282892" y="1767832"/>
                        <a:pt x="1289750" y="1761423"/>
                      </a:cubicBezTo>
                      <a:cubicBezTo>
                        <a:pt x="1298633" y="1753114"/>
                        <a:pt x="1314178" y="1757414"/>
                        <a:pt x="1321724" y="1766957"/>
                      </a:cubicBezTo>
                      <a:cubicBezTo>
                        <a:pt x="1329265" y="1776502"/>
                        <a:pt x="1330964" y="1789265"/>
                        <a:pt x="1332391" y="1801346"/>
                      </a:cubicBezTo>
                      <a:cubicBezTo>
                        <a:pt x="1338527" y="1813031"/>
                        <a:pt x="1358555" y="1807883"/>
                        <a:pt x="1363331" y="1795578"/>
                      </a:cubicBezTo>
                      <a:cubicBezTo>
                        <a:pt x="1368107" y="1783273"/>
                        <a:pt x="1362540" y="1769488"/>
                        <a:pt x="1355928" y="1758063"/>
                      </a:cubicBezTo>
                      <a:cubicBezTo>
                        <a:pt x="1349319" y="1746639"/>
                        <a:pt x="1341323" y="1735091"/>
                        <a:pt x="1340973" y="1721897"/>
                      </a:cubicBezTo>
                      <a:cubicBezTo>
                        <a:pt x="1351841" y="1718953"/>
                        <a:pt x="1363916" y="1720807"/>
                        <a:pt x="1373397" y="1726877"/>
                      </a:cubicBezTo>
                      <a:cubicBezTo>
                        <a:pt x="1356252" y="1709558"/>
                        <a:pt x="1366566" y="1680320"/>
                        <a:pt x="1379323" y="1659554"/>
                      </a:cubicBezTo>
                      <a:cubicBezTo>
                        <a:pt x="1394136" y="1635432"/>
                        <a:pt x="1411092" y="1612626"/>
                        <a:pt x="1429925" y="1591491"/>
                      </a:cubicBezTo>
                      <a:cubicBezTo>
                        <a:pt x="1435048" y="1600323"/>
                        <a:pt x="1440176" y="1609156"/>
                        <a:pt x="1445299" y="1617987"/>
                      </a:cubicBezTo>
                      <a:cubicBezTo>
                        <a:pt x="1452108" y="1593616"/>
                        <a:pt x="1467626" y="1571776"/>
                        <a:pt x="1488403" y="1557328"/>
                      </a:cubicBezTo>
                      <a:cubicBezTo>
                        <a:pt x="1496855" y="1560241"/>
                        <a:pt x="1504372" y="1565584"/>
                        <a:pt x="1510149" y="1572404"/>
                      </a:cubicBezTo>
                      <a:cubicBezTo>
                        <a:pt x="1506306" y="1565640"/>
                        <a:pt x="1511334" y="1554887"/>
                        <a:pt x="1519337" y="1551951"/>
                      </a:cubicBezTo>
                      <a:cubicBezTo>
                        <a:pt x="1528569" y="1548564"/>
                        <a:pt x="1538756" y="1552018"/>
                        <a:pt x="1547970" y="1555450"/>
                      </a:cubicBezTo>
                      <a:cubicBezTo>
                        <a:pt x="1586877" y="1569948"/>
                        <a:pt x="1625785" y="1584447"/>
                        <a:pt x="1664695" y="1598946"/>
                      </a:cubicBezTo>
                      <a:cubicBezTo>
                        <a:pt x="1653844" y="1584864"/>
                        <a:pt x="1642990" y="1570780"/>
                        <a:pt x="1632139" y="1556698"/>
                      </a:cubicBezTo>
                      <a:cubicBezTo>
                        <a:pt x="1656900" y="1560081"/>
                        <a:pt x="1681663" y="1563464"/>
                        <a:pt x="1706426" y="1566845"/>
                      </a:cubicBezTo>
                      <a:cubicBezTo>
                        <a:pt x="1714087" y="1537343"/>
                        <a:pt x="1735921" y="1511864"/>
                        <a:pt x="1763899" y="1499772"/>
                      </a:cubicBezTo>
                      <a:cubicBezTo>
                        <a:pt x="1769369" y="1500995"/>
                        <a:pt x="1774841" y="1502217"/>
                        <a:pt x="1780311" y="1503442"/>
                      </a:cubicBezTo>
                      <a:cubicBezTo>
                        <a:pt x="1771551" y="1474122"/>
                        <a:pt x="1804035" y="1441565"/>
                        <a:pt x="1833375" y="1450259"/>
                      </a:cubicBezTo>
                      <a:cubicBezTo>
                        <a:pt x="1835125" y="1456436"/>
                        <a:pt x="1836876" y="1462614"/>
                        <a:pt x="1838629" y="1468789"/>
                      </a:cubicBezTo>
                      <a:cubicBezTo>
                        <a:pt x="1855204" y="1461221"/>
                        <a:pt x="1873583" y="1457638"/>
                        <a:pt x="1891787" y="1458438"/>
                      </a:cubicBezTo>
                      <a:cubicBezTo>
                        <a:pt x="1892027" y="1450624"/>
                        <a:pt x="1892270" y="1442811"/>
                        <a:pt x="1892509" y="1434997"/>
                      </a:cubicBezTo>
                      <a:cubicBezTo>
                        <a:pt x="1909276" y="1429878"/>
                        <a:pt x="1926045" y="1424759"/>
                        <a:pt x="1942815" y="1419641"/>
                      </a:cubicBezTo>
                      <a:cubicBezTo>
                        <a:pt x="1959170" y="1396851"/>
                        <a:pt x="1985783" y="1363305"/>
                        <a:pt x="1963591" y="1346145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05" name="Forma libre 204">
                  <a:extLst>
                    <a:ext uri="{FF2B5EF4-FFF2-40B4-BE49-F238E27FC236}">
                      <a16:creationId xmlns:a16="http://schemas.microsoft.com/office/drawing/2014/main" id="{C01F004C-4169-D441-90DB-875B454E50E7}"/>
                    </a:ext>
                  </a:extLst>
                </p:cNvPr>
                <p:cNvSpPr/>
                <p:nvPr/>
              </p:nvSpPr>
              <p:spPr>
                <a:xfrm>
                  <a:off x="7323401" y="3308708"/>
                  <a:ext cx="498398" cy="177282"/>
                </a:xfrm>
                <a:custGeom>
                  <a:avLst/>
                  <a:gdLst>
                    <a:gd name="connsiteX0" fmla="*/ 313116 w 498398"/>
                    <a:gd name="connsiteY0" fmla="*/ 170009 h 177282"/>
                    <a:gd name="connsiteX1" fmla="*/ 325601 w 498398"/>
                    <a:gd name="connsiteY1" fmla="*/ 163493 h 177282"/>
                    <a:gd name="connsiteX2" fmla="*/ 327313 w 498398"/>
                    <a:gd name="connsiteY2" fmla="*/ 161235 h 177282"/>
                    <a:gd name="connsiteX3" fmla="*/ 345625 w 498398"/>
                    <a:gd name="connsiteY3" fmla="*/ 147010 h 177282"/>
                    <a:gd name="connsiteX4" fmla="*/ 353787 w 498398"/>
                    <a:gd name="connsiteY4" fmla="*/ 147157 h 177282"/>
                    <a:gd name="connsiteX5" fmla="*/ 356356 w 498398"/>
                    <a:gd name="connsiteY5" fmla="*/ 147426 h 177282"/>
                    <a:gd name="connsiteX6" fmla="*/ 377009 w 498398"/>
                    <a:gd name="connsiteY6" fmla="*/ 143187 h 177282"/>
                    <a:gd name="connsiteX7" fmla="*/ 416986 w 498398"/>
                    <a:gd name="connsiteY7" fmla="*/ 129575 h 177282"/>
                    <a:gd name="connsiteX8" fmla="*/ 423316 w 498398"/>
                    <a:gd name="connsiteY8" fmla="*/ 125412 h 177282"/>
                    <a:gd name="connsiteX9" fmla="*/ 421745 w 498398"/>
                    <a:gd name="connsiteY9" fmla="*/ 124069 h 177282"/>
                    <a:gd name="connsiteX10" fmla="*/ 419650 w 498398"/>
                    <a:gd name="connsiteY10" fmla="*/ 122142 h 177282"/>
                    <a:gd name="connsiteX11" fmla="*/ 418231 w 498398"/>
                    <a:gd name="connsiteY11" fmla="*/ 102501 h 177282"/>
                    <a:gd name="connsiteX12" fmla="*/ 437224 w 498398"/>
                    <a:gd name="connsiteY12" fmla="*/ 97301 h 177282"/>
                    <a:gd name="connsiteX13" fmla="*/ 443973 w 498398"/>
                    <a:gd name="connsiteY13" fmla="*/ 102214 h 177282"/>
                    <a:gd name="connsiteX14" fmla="*/ 447158 w 498398"/>
                    <a:gd name="connsiteY14" fmla="*/ 104858 h 177282"/>
                    <a:gd name="connsiteX15" fmla="*/ 453630 w 498398"/>
                    <a:gd name="connsiteY15" fmla="*/ 107095 h 177282"/>
                    <a:gd name="connsiteX16" fmla="*/ 495411 w 498398"/>
                    <a:gd name="connsiteY16" fmla="*/ 117302 h 177282"/>
                    <a:gd name="connsiteX17" fmla="*/ 493998 w 498398"/>
                    <a:gd name="connsiteY17" fmla="*/ 88585 h 177282"/>
                    <a:gd name="connsiteX18" fmla="*/ 489839 w 498398"/>
                    <a:gd name="connsiteY18" fmla="*/ 89842 h 177282"/>
                    <a:gd name="connsiteX19" fmla="*/ 486232 w 498398"/>
                    <a:gd name="connsiteY19" fmla="*/ 90364 h 177282"/>
                    <a:gd name="connsiteX20" fmla="*/ 467498 w 498398"/>
                    <a:gd name="connsiteY20" fmla="*/ 56776 h 177282"/>
                    <a:gd name="connsiteX21" fmla="*/ 432931 w 498398"/>
                    <a:gd name="connsiteY21" fmla="*/ 41664 h 177282"/>
                    <a:gd name="connsiteX22" fmla="*/ 430922 w 498398"/>
                    <a:gd name="connsiteY22" fmla="*/ 40037 h 177282"/>
                    <a:gd name="connsiteX23" fmla="*/ 409047 w 498398"/>
                    <a:gd name="connsiteY23" fmla="*/ 33199 h 177282"/>
                    <a:gd name="connsiteX24" fmla="*/ 403885 w 498398"/>
                    <a:gd name="connsiteY24" fmla="*/ 37322 h 177282"/>
                    <a:gd name="connsiteX25" fmla="*/ 394182 w 498398"/>
                    <a:gd name="connsiteY25" fmla="*/ 33082 h 177282"/>
                    <a:gd name="connsiteX26" fmla="*/ 393354 w 498398"/>
                    <a:gd name="connsiteY26" fmla="*/ 30317 h 177282"/>
                    <a:gd name="connsiteX27" fmla="*/ 381311 w 498398"/>
                    <a:gd name="connsiteY27" fmla="*/ 28421 h 177282"/>
                    <a:gd name="connsiteX28" fmla="*/ 371407 w 498398"/>
                    <a:gd name="connsiteY28" fmla="*/ 35808 h 177282"/>
                    <a:gd name="connsiteX29" fmla="*/ 356237 w 498398"/>
                    <a:gd name="connsiteY29" fmla="*/ 45965 h 177282"/>
                    <a:gd name="connsiteX30" fmla="*/ 341027 w 498398"/>
                    <a:gd name="connsiteY30" fmla="*/ 48032 h 177282"/>
                    <a:gd name="connsiteX31" fmla="*/ 332105 w 498398"/>
                    <a:gd name="connsiteY31" fmla="*/ 48689 h 177282"/>
                    <a:gd name="connsiteX32" fmla="*/ 323559 w 498398"/>
                    <a:gd name="connsiteY32" fmla="*/ 51214 h 177282"/>
                    <a:gd name="connsiteX33" fmla="*/ 306984 w 498398"/>
                    <a:gd name="connsiteY33" fmla="*/ 54607 h 177282"/>
                    <a:gd name="connsiteX34" fmla="*/ 290500 w 498398"/>
                    <a:gd name="connsiteY34" fmla="*/ 42587 h 177282"/>
                    <a:gd name="connsiteX35" fmla="*/ 289683 w 498398"/>
                    <a:gd name="connsiteY35" fmla="*/ 35488 h 177282"/>
                    <a:gd name="connsiteX36" fmla="*/ 212620 w 498398"/>
                    <a:gd name="connsiteY36" fmla="*/ 30233 h 177282"/>
                    <a:gd name="connsiteX37" fmla="*/ 140508 w 498398"/>
                    <a:gd name="connsiteY37" fmla="*/ 35882 h 177282"/>
                    <a:gd name="connsiteX38" fmla="*/ 110036 w 498398"/>
                    <a:gd name="connsiteY38" fmla="*/ 28654 h 177282"/>
                    <a:gd name="connsiteX39" fmla="*/ 100964 w 498398"/>
                    <a:gd name="connsiteY39" fmla="*/ 12006 h 177282"/>
                    <a:gd name="connsiteX40" fmla="*/ 93977 w 498398"/>
                    <a:gd name="connsiteY40" fmla="*/ 0 h 177282"/>
                    <a:gd name="connsiteX41" fmla="*/ 66529 w 498398"/>
                    <a:gd name="connsiteY41" fmla="*/ 11367 h 177282"/>
                    <a:gd name="connsiteX42" fmla="*/ 25890 w 498398"/>
                    <a:gd name="connsiteY42" fmla="*/ 48304 h 177282"/>
                    <a:gd name="connsiteX43" fmla="*/ 22058 w 498398"/>
                    <a:gd name="connsiteY43" fmla="*/ 48924 h 177282"/>
                    <a:gd name="connsiteX44" fmla="*/ 20314 w 498398"/>
                    <a:gd name="connsiteY44" fmla="*/ 45452 h 177282"/>
                    <a:gd name="connsiteX45" fmla="*/ 7450 w 498398"/>
                    <a:gd name="connsiteY45" fmla="*/ 27913 h 177282"/>
                    <a:gd name="connsiteX46" fmla="*/ 0 w 498398"/>
                    <a:gd name="connsiteY46" fmla="*/ 26238 h 177282"/>
                    <a:gd name="connsiteX47" fmla="*/ 1343 w 498398"/>
                    <a:gd name="connsiteY47" fmla="*/ 27758 h 177282"/>
                    <a:gd name="connsiteX48" fmla="*/ 30007 w 498398"/>
                    <a:gd name="connsiteY48" fmla="*/ 56395 h 177282"/>
                    <a:gd name="connsiteX49" fmla="*/ 64610 w 498398"/>
                    <a:gd name="connsiteY49" fmla="*/ 57861 h 177282"/>
                    <a:gd name="connsiteX50" fmla="*/ 143228 w 498398"/>
                    <a:gd name="connsiteY50" fmla="*/ 90145 h 177282"/>
                    <a:gd name="connsiteX51" fmla="*/ 182123 w 498398"/>
                    <a:gd name="connsiteY51" fmla="*/ 126489 h 177282"/>
                    <a:gd name="connsiteX52" fmla="*/ 173585 w 498398"/>
                    <a:gd name="connsiteY52" fmla="*/ 174648 h 177282"/>
                    <a:gd name="connsiteX53" fmla="*/ 261153 w 498398"/>
                    <a:gd name="connsiteY53" fmla="*/ 167818 h 177282"/>
                    <a:gd name="connsiteX54" fmla="*/ 278238 w 498398"/>
                    <a:gd name="connsiteY54" fmla="*/ 176852 h 177282"/>
                    <a:gd name="connsiteX55" fmla="*/ 301098 w 498398"/>
                    <a:gd name="connsiteY55" fmla="*/ 174323 h 177282"/>
                    <a:gd name="connsiteX56" fmla="*/ 310499 w 498398"/>
                    <a:gd name="connsiteY56" fmla="*/ 174737 h 177282"/>
                    <a:gd name="connsiteX57" fmla="*/ 313116 w 498398"/>
                    <a:gd name="connsiteY57" fmla="*/ 170009 h 1772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</a:cxnLst>
                  <a:rect l="l" t="t" r="r" b="b"/>
                  <a:pathLst>
                    <a:path w="498398" h="177282">
                      <a:moveTo>
                        <a:pt x="313116" y="170009"/>
                      </a:moveTo>
                      <a:cubicBezTo>
                        <a:pt x="316480" y="171865"/>
                        <a:pt x="322059" y="168049"/>
                        <a:pt x="325601" y="163493"/>
                      </a:cubicBezTo>
                      <a:lnTo>
                        <a:pt x="327313" y="161235"/>
                      </a:lnTo>
                      <a:cubicBezTo>
                        <a:pt x="331612" y="155503"/>
                        <a:pt x="336980" y="148367"/>
                        <a:pt x="345625" y="147010"/>
                      </a:cubicBezTo>
                      <a:cubicBezTo>
                        <a:pt x="348581" y="146522"/>
                        <a:pt x="351334" y="146875"/>
                        <a:pt x="353787" y="147157"/>
                      </a:cubicBezTo>
                      <a:cubicBezTo>
                        <a:pt x="354638" y="147254"/>
                        <a:pt x="355497" y="147361"/>
                        <a:pt x="356356" y="147426"/>
                      </a:cubicBezTo>
                      <a:cubicBezTo>
                        <a:pt x="363080" y="147780"/>
                        <a:pt x="370200" y="145503"/>
                        <a:pt x="377009" y="143187"/>
                      </a:cubicBezTo>
                      <a:lnTo>
                        <a:pt x="416986" y="129575"/>
                      </a:lnTo>
                      <a:cubicBezTo>
                        <a:pt x="420752" y="128297"/>
                        <a:pt x="423113" y="126187"/>
                        <a:pt x="423316" y="125412"/>
                      </a:cubicBezTo>
                      <a:cubicBezTo>
                        <a:pt x="423160" y="125279"/>
                        <a:pt x="422306" y="124552"/>
                        <a:pt x="421745" y="124069"/>
                      </a:cubicBezTo>
                      <a:cubicBezTo>
                        <a:pt x="421017" y="123455"/>
                        <a:pt x="420298" y="122829"/>
                        <a:pt x="419650" y="122142"/>
                      </a:cubicBezTo>
                      <a:cubicBezTo>
                        <a:pt x="414625" y="116885"/>
                        <a:pt x="414013" y="108439"/>
                        <a:pt x="418231" y="102501"/>
                      </a:cubicBezTo>
                      <a:cubicBezTo>
                        <a:pt x="422396" y="96573"/>
                        <a:pt x="430560" y="94352"/>
                        <a:pt x="437224" y="97301"/>
                      </a:cubicBezTo>
                      <a:cubicBezTo>
                        <a:pt x="440058" y="98582"/>
                        <a:pt x="442139" y="100511"/>
                        <a:pt x="443973" y="102214"/>
                      </a:cubicBezTo>
                      <a:cubicBezTo>
                        <a:pt x="444995" y="103157"/>
                        <a:pt x="445986" y="104133"/>
                        <a:pt x="447158" y="104858"/>
                      </a:cubicBezTo>
                      <a:cubicBezTo>
                        <a:pt x="448896" y="105953"/>
                        <a:pt x="451309" y="106535"/>
                        <a:pt x="453630" y="107095"/>
                      </a:cubicBezTo>
                      <a:lnTo>
                        <a:pt x="495411" y="117302"/>
                      </a:lnTo>
                      <a:cubicBezTo>
                        <a:pt x="499944" y="108521"/>
                        <a:pt x="499195" y="97047"/>
                        <a:pt x="493998" y="88585"/>
                      </a:cubicBezTo>
                      <a:cubicBezTo>
                        <a:pt x="492759" y="89153"/>
                        <a:pt x="491413" y="89617"/>
                        <a:pt x="489839" y="89842"/>
                      </a:cubicBezTo>
                      <a:lnTo>
                        <a:pt x="486232" y="90364"/>
                      </a:lnTo>
                      <a:lnTo>
                        <a:pt x="467498" y="56776"/>
                      </a:lnTo>
                      <a:cubicBezTo>
                        <a:pt x="454659" y="59229"/>
                        <a:pt x="442704" y="49599"/>
                        <a:pt x="432931" y="41664"/>
                      </a:cubicBezTo>
                      <a:lnTo>
                        <a:pt x="430922" y="40037"/>
                      </a:lnTo>
                      <a:cubicBezTo>
                        <a:pt x="424314" y="34717"/>
                        <a:pt x="414871" y="31809"/>
                        <a:pt x="409047" y="33199"/>
                      </a:cubicBezTo>
                      <a:cubicBezTo>
                        <a:pt x="406518" y="33807"/>
                        <a:pt x="404883" y="35113"/>
                        <a:pt x="403885" y="37322"/>
                      </a:cubicBezTo>
                      <a:lnTo>
                        <a:pt x="394182" y="33082"/>
                      </a:lnTo>
                      <a:cubicBezTo>
                        <a:pt x="394425" y="32521"/>
                        <a:pt x="394792" y="31672"/>
                        <a:pt x="393354" y="30317"/>
                      </a:cubicBezTo>
                      <a:cubicBezTo>
                        <a:pt x="390781" y="27894"/>
                        <a:pt x="385082" y="26563"/>
                        <a:pt x="381311" y="28421"/>
                      </a:cubicBezTo>
                      <a:cubicBezTo>
                        <a:pt x="377838" y="30155"/>
                        <a:pt x="374715" y="32899"/>
                        <a:pt x="371407" y="35808"/>
                      </a:cubicBezTo>
                      <a:cubicBezTo>
                        <a:pt x="366957" y="39730"/>
                        <a:pt x="362353" y="43789"/>
                        <a:pt x="356237" y="45965"/>
                      </a:cubicBezTo>
                      <a:cubicBezTo>
                        <a:pt x="351110" y="47792"/>
                        <a:pt x="345991" y="47914"/>
                        <a:pt x="341027" y="48032"/>
                      </a:cubicBezTo>
                      <a:cubicBezTo>
                        <a:pt x="337871" y="48108"/>
                        <a:pt x="334895" y="48182"/>
                        <a:pt x="332105" y="48689"/>
                      </a:cubicBezTo>
                      <a:cubicBezTo>
                        <a:pt x="329337" y="49196"/>
                        <a:pt x="326531" y="50179"/>
                        <a:pt x="323559" y="51214"/>
                      </a:cubicBezTo>
                      <a:cubicBezTo>
                        <a:pt x="318373" y="53033"/>
                        <a:pt x="312902" y="54935"/>
                        <a:pt x="306984" y="54607"/>
                      </a:cubicBezTo>
                      <a:cubicBezTo>
                        <a:pt x="300031" y="54277"/>
                        <a:pt x="293105" y="49218"/>
                        <a:pt x="290500" y="42587"/>
                      </a:cubicBezTo>
                      <a:cubicBezTo>
                        <a:pt x="289563" y="40185"/>
                        <a:pt x="289305" y="37767"/>
                        <a:pt x="289683" y="35488"/>
                      </a:cubicBezTo>
                      <a:cubicBezTo>
                        <a:pt x="265390" y="26103"/>
                        <a:pt x="237468" y="28288"/>
                        <a:pt x="212620" y="30233"/>
                      </a:cubicBezTo>
                      <a:lnTo>
                        <a:pt x="140508" y="35882"/>
                      </a:lnTo>
                      <a:cubicBezTo>
                        <a:pt x="129995" y="36717"/>
                        <a:pt x="118081" y="36890"/>
                        <a:pt x="110036" y="28654"/>
                      </a:cubicBezTo>
                      <a:cubicBezTo>
                        <a:pt x="105585" y="24105"/>
                        <a:pt x="103129" y="17681"/>
                        <a:pt x="100964" y="12006"/>
                      </a:cubicBezTo>
                      <a:cubicBezTo>
                        <a:pt x="98107" y="4540"/>
                        <a:pt x="96363" y="1027"/>
                        <a:pt x="93977" y="0"/>
                      </a:cubicBezTo>
                      <a:cubicBezTo>
                        <a:pt x="87386" y="8014"/>
                        <a:pt x="76806" y="12313"/>
                        <a:pt x="66529" y="11367"/>
                      </a:cubicBezTo>
                      <a:cubicBezTo>
                        <a:pt x="61509" y="30093"/>
                        <a:pt x="45187" y="45223"/>
                        <a:pt x="25890" y="48304"/>
                      </a:cubicBezTo>
                      <a:lnTo>
                        <a:pt x="22058" y="48924"/>
                      </a:lnTo>
                      <a:lnTo>
                        <a:pt x="20314" y="45452"/>
                      </a:lnTo>
                      <a:cubicBezTo>
                        <a:pt x="16420" y="37651"/>
                        <a:pt x="12990" y="31408"/>
                        <a:pt x="7450" y="27913"/>
                      </a:cubicBezTo>
                      <a:cubicBezTo>
                        <a:pt x="5301" y="26570"/>
                        <a:pt x="2606" y="26136"/>
                        <a:pt x="0" y="26238"/>
                      </a:cubicBezTo>
                      <a:cubicBezTo>
                        <a:pt x="437" y="26748"/>
                        <a:pt x="923" y="27247"/>
                        <a:pt x="1343" y="27758"/>
                      </a:cubicBezTo>
                      <a:cubicBezTo>
                        <a:pt x="10086" y="38286"/>
                        <a:pt x="17273" y="51389"/>
                        <a:pt x="30007" y="56395"/>
                      </a:cubicBezTo>
                      <a:cubicBezTo>
                        <a:pt x="40838" y="60654"/>
                        <a:pt x="52973" y="57907"/>
                        <a:pt x="64610" y="57861"/>
                      </a:cubicBezTo>
                      <a:cubicBezTo>
                        <a:pt x="93381" y="57746"/>
                        <a:pt x="119252" y="74243"/>
                        <a:pt x="143228" y="90145"/>
                      </a:cubicBezTo>
                      <a:cubicBezTo>
                        <a:pt x="158180" y="100061"/>
                        <a:pt x="173736" y="110628"/>
                        <a:pt x="182123" y="126489"/>
                      </a:cubicBezTo>
                      <a:cubicBezTo>
                        <a:pt x="190509" y="142350"/>
                        <a:pt x="188779" y="165108"/>
                        <a:pt x="173585" y="174648"/>
                      </a:cubicBezTo>
                      <a:cubicBezTo>
                        <a:pt x="201813" y="163423"/>
                        <a:pt x="234942" y="152463"/>
                        <a:pt x="261153" y="167818"/>
                      </a:cubicBezTo>
                      <a:cubicBezTo>
                        <a:pt x="266744" y="171094"/>
                        <a:pt x="271893" y="175535"/>
                        <a:pt x="278238" y="176852"/>
                      </a:cubicBezTo>
                      <a:cubicBezTo>
                        <a:pt x="285794" y="178423"/>
                        <a:pt x="293437" y="175258"/>
                        <a:pt x="301098" y="174323"/>
                      </a:cubicBezTo>
                      <a:cubicBezTo>
                        <a:pt x="304342" y="173928"/>
                        <a:pt x="307464" y="174174"/>
                        <a:pt x="310499" y="174737"/>
                      </a:cubicBezTo>
                      <a:lnTo>
                        <a:pt x="313116" y="170009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grpSp>
              <p:nvGrpSpPr>
                <p:cNvPr id="206" name="Gráfico 16">
                  <a:extLst>
                    <a:ext uri="{FF2B5EF4-FFF2-40B4-BE49-F238E27FC236}">
                      <a16:creationId xmlns:a16="http://schemas.microsoft.com/office/drawing/2014/main" id="{C6CFE6A9-B24E-484F-BB71-FD553C0E4C74}"/>
                    </a:ext>
                  </a:extLst>
                </p:cNvPr>
                <p:cNvGrpSpPr/>
                <p:nvPr/>
              </p:nvGrpSpPr>
              <p:grpSpPr>
                <a:xfrm>
                  <a:off x="7645635" y="3314662"/>
                  <a:ext cx="446071" cy="305229"/>
                  <a:chOff x="7645635" y="3314662"/>
                  <a:chExt cx="446071" cy="305229"/>
                </a:xfrm>
                <a:grpFill/>
              </p:grpSpPr>
              <p:sp>
                <p:nvSpPr>
                  <p:cNvPr id="229" name="Forma libre 228">
                    <a:extLst>
                      <a:ext uri="{FF2B5EF4-FFF2-40B4-BE49-F238E27FC236}">
                        <a16:creationId xmlns:a16="http://schemas.microsoft.com/office/drawing/2014/main" id="{9C5AB5B8-E827-884D-B87A-9509385260C8}"/>
                      </a:ext>
                    </a:extLst>
                  </p:cNvPr>
                  <p:cNvSpPr/>
                  <p:nvPr/>
                </p:nvSpPr>
                <p:spPr>
                  <a:xfrm>
                    <a:off x="7645635" y="3447302"/>
                    <a:ext cx="251792" cy="172589"/>
                  </a:xfrm>
                  <a:custGeom>
                    <a:avLst/>
                    <a:gdLst>
                      <a:gd name="connsiteX0" fmla="*/ 229798 w 251792"/>
                      <a:gd name="connsiteY0" fmla="*/ 118574 h 172589"/>
                      <a:gd name="connsiteX1" fmla="*/ 226784 w 251792"/>
                      <a:gd name="connsiteY1" fmla="*/ 114086 h 172589"/>
                      <a:gd name="connsiteX2" fmla="*/ 219558 w 251792"/>
                      <a:gd name="connsiteY2" fmla="*/ 105006 h 172589"/>
                      <a:gd name="connsiteX3" fmla="*/ 199968 w 251792"/>
                      <a:gd name="connsiteY3" fmla="*/ 99495 h 172589"/>
                      <a:gd name="connsiteX4" fmla="*/ 179922 w 251792"/>
                      <a:gd name="connsiteY4" fmla="*/ 95074 h 172589"/>
                      <a:gd name="connsiteX5" fmla="*/ 178770 w 251792"/>
                      <a:gd name="connsiteY5" fmla="*/ 94535 h 172589"/>
                      <a:gd name="connsiteX6" fmla="*/ 177986 w 251792"/>
                      <a:gd name="connsiteY6" fmla="*/ 93516 h 172589"/>
                      <a:gd name="connsiteX7" fmla="*/ 176611 w 251792"/>
                      <a:gd name="connsiteY7" fmla="*/ 85334 h 172589"/>
                      <a:gd name="connsiteX8" fmla="*/ 185578 w 251792"/>
                      <a:gd name="connsiteY8" fmla="*/ 77002 h 172589"/>
                      <a:gd name="connsiteX9" fmla="*/ 188862 w 251792"/>
                      <a:gd name="connsiteY9" fmla="*/ 76203 h 172589"/>
                      <a:gd name="connsiteX10" fmla="*/ 193215 w 251792"/>
                      <a:gd name="connsiteY10" fmla="*/ 74691 h 172589"/>
                      <a:gd name="connsiteX11" fmla="*/ 190456 w 251792"/>
                      <a:gd name="connsiteY11" fmla="*/ 70947 h 172589"/>
                      <a:gd name="connsiteX12" fmla="*/ 178650 w 251792"/>
                      <a:gd name="connsiteY12" fmla="*/ 73011 h 172589"/>
                      <a:gd name="connsiteX13" fmla="*/ 161570 w 251792"/>
                      <a:gd name="connsiteY13" fmla="*/ 79386 h 172589"/>
                      <a:gd name="connsiteX14" fmla="*/ 172570 w 251792"/>
                      <a:gd name="connsiteY14" fmla="*/ 64854 h 172589"/>
                      <a:gd name="connsiteX15" fmla="*/ 173657 w 251792"/>
                      <a:gd name="connsiteY15" fmla="*/ 58185 h 172589"/>
                      <a:gd name="connsiteX16" fmla="*/ 164795 w 251792"/>
                      <a:gd name="connsiteY16" fmla="*/ 47402 h 172589"/>
                      <a:gd name="connsiteX17" fmla="*/ 145167 w 251792"/>
                      <a:gd name="connsiteY17" fmla="*/ 43452 h 172589"/>
                      <a:gd name="connsiteX18" fmla="*/ 135860 w 251792"/>
                      <a:gd name="connsiteY18" fmla="*/ 42488 h 172589"/>
                      <a:gd name="connsiteX19" fmla="*/ 124903 w 251792"/>
                      <a:gd name="connsiteY19" fmla="*/ 36644 h 172589"/>
                      <a:gd name="connsiteX20" fmla="*/ 123329 w 251792"/>
                      <a:gd name="connsiteY20" fmla="*/ 29458 h 172589"/>
                      <a:gd name="connsiteX21" fmla="*/ 128290 w 251792"/>
                      <a:gd name="connsiteY21" fmla="*/ 22303 h 172589"/>
                      <a:gd name="connsiteX22" fmla="*/ 129298 w 251792"/>
                      <a:gd name="connsiteY22" fmla="*/ 21428 h 172589"/>
                      <a:gd name="connsiteX23" fmla="*/ 131351 w 251792"/>
                      <a:gd name="connsiteY23" fmla="*/ 15081 h 172589"/>
                      <a:gd name="connsiteX24" fmla="*/ 125086 w 251792"/>
                      <a:gd name="connsiteY24" fmla="*/ 4466 h 172589"/>
                      <a:gd name="connsiteX25" fmla="*/ 100638 w 251792"/>
                      <a:gd name="connsiteY25" fmla="*/ 24 h 172589"/>
                      <a:gd name="connsiteX26" fmla="*/ 98158 w 251792"/>
                      <a:gd name="connsiteY26" fmla="*/ 1009 h 172589"/>
                      <a:gd name="connsiteX27" fmla="*/ 58181 w 251792"/>
                      <a:gd name="connsiteY27" fmla="*/ 14619 h 172589"/>
                      <a:gd name="connsiteX28" fmla="*/ 33382 w 251792"/>
                      <a:gd name="connsiteY28" fmla="*/ 19387 h 172589"/>
                      <a:gd name="connsiteX29" fmla="*/ 30311 w 251792"/>
                      <a:gd name="connsiteY29" fmla="*/ 19079 h 172589"/>
                      <a:gd name="connsiteX30" fmla="*/ 25043 w 251792"/>
                      <a:gd name="connsiteY30" fmla="*/ 18869 h 172589"/>
                      <a:gd name="connsiteX31" fmla="*/ 13544 w 251792"/>
                      <a:gd name="connsiteY31" fmla="*/ 29000 h 172589"/>
                      <a:gd name="connsiteX32" fmla="*/ 11741 w 251792"/>
                      <a:gd name="connsiteY32" fmla="*/ 31382 h 172589"/>
                      <a:gd name="connsiteX33" fmla="*/ 0 w 251792"/>
                      <a:gd name="connsiteY33" fmla="*/ 40719 h 172589"/>
                      <a:gd name="connsiteX34" fmla="*/ 12460 w 251792"/>
                      <a:gd name="connsiteY34" fmla="*/ 102519 h 172589"/>
                      <a:gd name="connsiteX35" fmla="*/ 51261 w 251792"/>
                      <a:gd name="connsiteY35" fmla="*/ 107741 h 172589"/>
                      <a:gd name="connsiteX36" fmla="*/ 213359 w 251792"/>
                      <a:gd name="connsiteY36" fmla="*/ 170292 h 172589"/>
                      <a:gd name="connsiteX37" fmla="*/ 251792 w 251792"/>
                      <a:gd name="connsiteY37" fmla="*/ 137006 h 172589"/>
                      <a:gd name="connsiteX38" fmla="*/ 229798 w 251792"/>
                      <a:gd name="connsiteY38" fmla="*/ 118574 h 1725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</a:cxnLst>
                    <a:rect l="l" t="t" r="r" b="b"/>
                    <a:pathLst>
                      <a:path w="251792" h="172589">
                        <a:moveTo>
                          <a:pt x="229798" y="118574"/>
                        </a:moveTo>
                        <a:cubicBezTo>
                          <a:pt x="228750" y="117112"/>
                          <a:pt x="227770" y="115600"/>
                          <a:pt x="226784" y="114086"/>
                        </a:cubicBezTo>
                        <a:cubicBezTo>
                          <a:pt x="224514" y="110575"/>
                          <a:pt x="222369" y="107261"/>
                          <a:pt x="219558" y="105006"/>
                        </a:cubicBezTo>
                        <a:cubicBezTo>
                          <a:pt x="214555" y="101000"/>
                          <a:pt x="207474" y="100267"/>
                          <a:pt x="199968" y="99495"/>
                        </a:cubicBezTo>
                        <a:cubicBezTo>
                          <a:pt x="193284" y="98801"/>
                          <a:pt x="186368" y="98087"/>
                          <a:pt x="179922" y="95074"/>
                        </a:cubicBezTo>
                        <a:lnTo>
                          <a:pt x="178770" y="94535"/>
                        </a:lnTo>
                        <a:lnTo>
                          <a:pt x="177986" y="93516"/>
                        </a:lnTo>
                        <a:cubicBezTo>
                          <a:pt x="176180" y="91193"/>
                          <a:pt x="175682" y="88206"/>
                          <a:pt x="176611" y="85334"/>
                        </a:cubicBezTo>
                        <a:cubicBezTo>
                          <a:pt x="177835" y="81572"/>
                          <a:pt x="181442" y="78224"/>
                          <a:pt x="185578" y="77002"/>
                        </a:cubicBezTo>
                        <a:cubicBezTo>
                          <a:pt x="186632" y="76685"/>
                          <a:pt x="187745" y="76438"/>
                          <a:pt x="188862" y="76203"/>
                        </a:cubicBezTo>
                        <a:cubicBezTo>
                          <a:pt x="190636" y="75819"/>
                          <a:pt x="192650" y="75388"/>
                          <a:pt x="193215" y="74691"/>
                        </a:cubicBezTo>
                        <a:cubicBezTo>
                          <a:pt x="192807" y="72543"/>
                          <a:pt x="191605" y="71291"/>
                          <a:pt x="190456" y="70947"/>
                        </a:cubicBezTo>
                        <a:cubicBezTo>
                          <a:pt x="187243" y="69989"/>
                          <a:pt x="183209" y="71290"/>
                          <a:pt x="178650" y="73011"/>
                        </a:cubicBezTo>
                        <a:lnTo>
                          <a:pt x="161570" y="79386"/>
                        </a:lnTo>
                        <a:lnTo>
                          <a:pt x="172570" y="64854"/>
                        </a:lnTo>
                        <a:cubicBezTo>
                          <a:pt x="173921" y="63065"/>
                          <a:pt x="174287" y="60818"/>
                          <a:pt x="173657" y="58185"/>
                        </a:cubicBezTo>
                        <a:cubicBezTo>
                          <a:pt x="172622" y="53860"/>
                          <a:pt x="168979" y="49428"/>
                          <a:pt x="164795" y="47402"/>
                        </a:cubicBezTo>
                        <a:cubicBezTo>
                          <a:pt x="159045" y="44611"/>
                          <a:pt x="152307" y="44052"/>
                          <a:pt x="145167" y="43452"/>
                        </a:cubicBezTo>
                        <a:cubicBezTo>
                          <a:pt x="142050" y="43197"/>
                          <a:pt x="138937" y="42932"/>
                          <a:pt x="135860" y="42488"/>
                        </a:cubicBezTo>
                        <a:cubicBezTo>
                          <a:pt x="134090" y="42232"/>
                          <a:pt x="128051" y="41068"/>
                          <a:pt x="124903" y="36644"/>
                        </a:cubicBezTo>
                        <a:cubicBezTo>
                          <a:pt x="123400" y="34524"/>
                          <a:pt x="122841" y="31974"/>
                          <a:pt x="123329" y="29458"/>
                        </a:cubicBezTo>
                        <a:cubicBezTo>
                          <a:pt x="124038" y="25872"/>
                          <a:pt x="126596" y="23722"/>
                          <a:pt x="128290" y="22303"/>
                        </a:cubicBezTo>
                        <a:lnTo>
                          <a:pt x="129298" y="21428"/>
                        </a:lnTo>
                        <a:cubicBezTo>
                          <a:pt x="131282" y="19550"/>
                          <a:pt x="131510" y="16942"/>
                          <a:pt x="131351" y="15081"/>
                        </a:cubicBezTo>
                        <a:cubicBezTo>
                          <a:pt x="130999" y="10979"/>
                          <a:pt x="128474" y="6706"/>
                          <a:pt x="125086" y="4466"/>
                        </a:cubicBezTo>
                        <a:cubicBezTo>
                          <a:pt x="118736" y="250"/>
                          <a:pt x="110266" y="-119"/>
                          <a:pt x="100638" y="24"/>
                        </a:cubicBezTo>
                        <a:cubicBezTo>
                          <a:pt x="99601" y="488"/>
                          <a:pt x="98712" y="817"/>
                          <a:pt x="98158" y="1009"/>
                        </a:cubicBezTo>
                        <a:lnTo>
                          <a:pt x="58181" y="14619"/>
                        </a:lnTo>
                        <a:cubicBezTo>
                          <a:pt x="50741" y="17146"/>
                          <a:pt x="42210" y="20033"/>
                          <a:pt x="33382" y="19387"/>
                        </a:cubicBezTo>
                        <a:cubicBezTo>
                          <a:pt x="32348" y="19322"/>
                          <a:pt x="31334" y="19207"/>
                          <a:pt x="30311" y="19079"/>
                        </a:cubicBezTo>
                        <a:cubicBezTo>
                          <a:pt x="28372" y="18843"/>
                          <a:pt x="26540" y="18640"/>
                          <a:pt x="25043" y="18869"/>
                        </a:cubicBezTo>
                        <a:cubicBezTo>
                          <a:pt x="20632" y="19565"/>
                          <a:pt x="17190" y="24151"/>
                          <a:pt x="13544" y="29000"/>
                        </a:cubicBezTo>
                        <a:lnTo>
                          <a:pt x="11741" y="31382"/>
                        </a:lnTo>
                        <a:cubicBezTo>
                          <a:pt x="8604" y="35416"/>
                          <a:pt x="4451" y="38771"/>
                          <a:pt x="0" y="40719"/>
                        </a:cubicBezTo>
                        <a:cubicBezTo>
                          <a:pt x="19786" y="53085"/>
                          <a:pt x="29478" y="84622"/>
                          <a:pt x="12460" y="102519"/>
                        </a:cubicBezTo>
                        <a:cubicBezTo>
                          <a:pt x="19347" y="114682"/>
                          <a:pt x="37388" y="109465"/>
                          <a:pt x="51261" y="107741"/>
                        </a:cubicBezTo>
                        <a:cubicBezTo>
                          <a:pt x="110747" y="100349"/>
                          <a:pt x="155993" y="187688"/>
                          <a:pt x="213359" y="170292"/>
                        </a:cubicBezTo>
                        <a:cubicBezTo>
                          <a:pt x="230032" y="165236"/>
                          <a:pt x="242398" y="152084"/>
                          <a:pt x="251792" y="137006"/>
                        </a:cubicBezTo>
                        <a:cubicBezTo>
                          <a:pt x="243126" y="132702"/>
                          <a:pt x="235393" y="126393"/>
                          <a:pt x="229798" y="118574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30" name="Forma libre 229">
                    <a:extLst>
                      <a:ext uri="{FF2B5EF4-FFF2-40B4-BE49-F238E27FC236}">
                        <a16:creationId xmlns:a16="http://schemas.microsoft.com/office/drawing/2014/main" id="{1C8AB4AF-6225-1B4A-A3A1-C91D89B513A2}"/>
                      </a:ext>
                    </a:extLst>
                  </p:cNvPr>
                  <p:cNvSpPr/>
                  <p:nvPr/>
                </p:nvSpPr>
                <p:spPr>
                  <a:xfrm>
                    <a:off x="7749460" y="3314662"/>
                    <a:ext cx="342246" cy="270928"/>
                  </a:xfrm>
                  <a:custGeom>
                    <a:avLst/>
                    <a:gdLst>
                      <a:gd name="connsiteX0" fmla="*/ 342246 w 342246"/>
                      <a:gd name="connsiteY0" fmla="*/ 84025 h 270928"/>
                      <a:gd name="connsiteX1" fmla="*/ 219801 w 342246"/>
                      <a:gd name="connsiteY1" fmla="*/ 11965 h 270928"/>
                      <a:gd name="connsiteX2" fmla="*/ 201110 w 342246"/>
                      <a:gd name="connsiteY2" fmla="*/ 0 h 270928"/>
                      <a:gd name="connsiteX3" fmla="*/ 200292 w 342246"/>
                      <a:gd name="connsiteY3" fmla="*/ 2259 h 270928"/>
                      <a:gd name="connsiteX4" fmla="*/ 200461 w 342246"/>
                      <a:gd name="connsiteY4" fmla="*/ 6693 h 270928"/>
                      <a:gd name="connsiteX5" fmla="*/ 202322 w 342246"/>
                      <a:gd name="connsiteY5" fmla="*/ 10806 h 270928"/>
                      <a:gd name="connsiteX6" fmla="*/ 205498 w 342246"/>
                      <a:gd name="connsiteY6" fmla="*/ 24704 h 270928"/>
                      <a:gd name="connsiteX7" fmla="*/ 192933 w 342246"/>
                      <a:gd name="connsiteY7" fmla="*/ 38647 h 270928"/>
                      <a:gd name="connsiteX8" fmla="*/ 185528 w 342246"/>
                      <a:gd name="connsiteY8" fmla="*/ 45447 h 270928"/>
                      <a:gd name="connsiteX9" fmla="*/ 187068 w 342246"/>
                      <a:gd name="connsiteY9" fmla="*/ 50668 h 270928"/>
                      <a:gd name="connsiteX10" fmla="*/ 189000 w 342246"/>
                      <a:gd name="connsiteY10" fmla="*/ 55876 h 270928"/>
                      <a:gd name="connsiteX11" fmla="*/ 185861 w 342246"/>
                      <a:gd name="connsiteY11" fmla="*/ 71849 h 270928"/>
                      <a:gd name="connsiteX12" fmla="*/ 172003 w 342246"/>
                      <a:gd name="connsiteY12" fmla="*/ 80393 h 270928"/>
                      <a:gd name="connsiteX13" fmla="*/ 156667 w 342246"/>
                      <a:gd name="connsiteY13" fmla="*/ 74933 h 270928"/>
                      <a:gd name="connsiteX14" fmla="*/ 152718 w 342246"/>
                      <a:gd name="connsiteY14" fmla="*/ 69925 h 270928"/>
                      <a:gd name="connsiteX15" fmla="*/ 147364 w 342246"/>
                      <a:gd name="connsiteY15" fmla="*/ 71714 h 270928"/>
                      <a:gd name="connsiteX16" fmla="*/ 114344 w 342246"/>
                      <a:gd name="connsiteY16" fmla="*/ 60159 h 270928"/>
                      <a:gd name="connsiteX17" fmla="*/ 83390 w 342246"/>
                      <a:gd name="connsiteY17" fmla="*/ 52086 h 270928"/>
                      <a:gd name="connsiteX18" fmla="*/ 78735 w 342246"/>
                      <a:gd name="connsiteY18" fmla="*/ 64305 h 270928"/>
                      <a:gd name="connsiteX19" fmla="*/ 75399 w 342246"/>
                      <a:gd name="connsiteY19" fmla="*/ 74704 h 270928"/>
                      <a:gd name="connsiteX20" fmla="*/ 76146 w 342246"/>
                      <a:gd name="connsiteY20" fmla="*/ 120488 h 270928"/>
                      <a:gd name="connsiteX21" fmla="*/ 74057 w 342246"/>
                      <a:gd name="connsiteY21" fmla="*/ 123400 h 270928"/>
                      <a:gd name="connsiteX22" fmla="*/ 25075 w 342246"/>
                      <a:gd name="connsiteY22" fmla="*/ 111428 h 270928"/>
                      <a:gd name="connsiteX23" fmla="*/ 15471 w 342246"/>
                      <a:gd name="connsiteY23" fmla="*/ 107868 h 270928"/>
                      <a:gd name="connsiteX24" fmla="*/ 10716 w 342246"/>
                      <a:gd name="connsiteY24" fmla="*/ 104026 h 270928"/>
                      <a:gd name="connsiteX25" fmla="*/ 6826 w 342246"/>
                      <a:gd name="connsiteY25" fmla="*/ 101004 h 270928"/>
                      <a:gd name="connsiteX26" fmla="*/ 818 w 342246"/>
                      <a:gd name="connsiteY26" fmla="*/ 102653 h 270928"/>
                      <a:gd name="connsiteX27" fmla="*/ 1259 w 342246"/>
                      <a:gd name="connsiteY27" fmla="*/ 108874 h 270928"/>
                      <a:gd name="connsiteX28" fmla="*/ 2549 w 342246"/>
                      <a:gd name="connsiteY28" fmla="*/ 110033 h 270928"/>
                      <a:gd name="connsiteX29" fmla="*/ 6964 w 342246"/>
                      <a:gd name="connsiteY29" fmla="*/ 115389 h 270928"/>
                      <a:gd name="connsiteX30" fmla="*/ 7263 w 342246"/>
                      <a:gd name="connsiteY30" fmla="*/ 122280 h 270928"/>
                      <a:gd name="connsiteX31" fmla="*/ 27118 w 342246"/>
                      <a:gd name="connsiteY31" fmla="*/ 128271 h 270928"/>
                      <a:gd name="connsiteX32" fmla="*/ 38084 w 342246"/>
                      <a:gd name="connsiteY32" fmla="*/ 146815 h 270928"/>
                      <a:gd name="connsiteX33" fmla="*/ 32746 w 342246"/>
                      <a:gd name="connsiteY33" fmla="*/ 161781 h 270928"/>
                      <a:gd name="connsiteX34" fmla="*/ 31276 w 342246"/>
                      <a:gd name="connsiteY34" fmla="*/ 163064 h 270928"/>
                      <a:gd name="connsiteX35" fmla="*/ 30527 w 342246"/>
                      <a:gd name="connsiteY35" fmla="*/ 163702 h 270928"/>
                      <a:gd name="connsiteX36" fmla="*/ 33544 w 342246"/>
                      <a:gd name="connsiteY36" fmla="*/ 164651 h 270928"/>
                      <a:gd name="connsiteX37" fmla="*/ 42229 w 342246"/>
                      <a:gd name="connsiteY37" fmla="*/ 165546 h 270928"/>
                      <a:gd name="connsiteX38" fmla="*/ 65598 w 342246"/>
                      <a:gd name="connsiteY38" fmla="*/ 170513 h 270928"/>
                      <a:gd name="connsiteX39" fmla="*/ 80130 w 342246"/>
                      <a:gd name="connsiteY39" fmla="*/ 188349 h 270928"/>
                      <a:gd name="connsiteX40" fmla="*/ 80720 w 342246"/>
                      <a:gd name="connsiteY40" fmla="*/ 192937 h 270928"/>
                      <a:gd name="connsiteX41" fmla="*/ 89694 w 342246"/>
                      <a:gd name="connsiteY41" fmla="*/ 193448 h 270928"/>
                      <a:gd name="connsiteX42" fmla="*/ 99488 w 342246"/>
                      <a:gd name="connsiteY42" fmla="*/ 203295 h 270928"/>
                      <a:gd name="connsiteX43" fmla="*/ 97654 w 342246"/>
                      <a:gd name="connsiteY43" fmla="*/ 213961 h 270928"/>
                      <a:gd name="connsiteX44" fmla="*/ 87269 w 342246"/>
                      <a:gd name="connsiteY44" fmla="*/ 219202 h 270928"/>
                      <a:gd name="connsiteX45" fmla="*/ 85037 w 342246"/>
                      <a:gd name="connsiteY45" fmla="*/ 219717 h 270928"/>
                      <a:gd name="connsiteX46" fmla="*/ 97228 w 342246"/>
                      <a:gd name="connsiteY46" fmla="*/ 221601 h 270928"/>
                      <a:gd name="connsiteX47" fmla="*/ 122355 w 342246"/>
                      <a:gd name="connsiteY47" fmla="*/ 229387 h 270928"/>
                      <a:gd name="connsiteX48" fmla="*/ 131855 w 342246"/>
                      <a:gd name="connsiteY48" fmla="*/ 240973 h 270928"/>
                      <a:gd name="connsiteX49" fmla="*/ 134584 w 342246"/>
                      <a:gd name="connsiteY49" fmla="*/ 245048 h 270928"/>
                      <a:gd name="connsiteX50" fmla="*/ 153188 w 342246"/>
                      <a:gd name="connsiteY50" fmla="*/ 260490 h 270928"/>
                      <a:gd name="connsiteX51" fmla="*/ 156292 w 342246"/>
                      <a:gd name="connsiteY51" fmla="*/ 254438 h 270928"/>
                      <a:gd name="connsiteX52" fmla="*/ 190213 w 342246"/>
                      <a:gd name="connsiteY52" fmla="*/ 194324 h 270928"/>
                      <a:gd name="connsiteX53" fmla="*/ 252604 w 342246"/>
                      <a:gd name="connsiteY53" fmla="*/ 183497 h 270928"/>
                      <a:gd name="connsiteX54" fmla="*/ 265483 w 342246"/>
                      <a:gd name="connsiteY54" fmla="*/ 270929 h 270928"/>
                      <a:gd name="connsiteX55" fmla="*/ 310955 w 342246"/>
                      <a:gd name="connsiteY55" fmla="*/ 266385 h 270928"/>
                      <a:gd name="connsiteX56" fmla="*/ 308390 w 342246"/>
                      <a:gd name="connsiteY56" fmla="*/ 155401 h 270928"/>
                      <a:gd name="connsiteX57" fmla="*/ 342246 w 342246"/>
                      <a:gd name="connsiteY57" fmla="*/ 84025 h 2709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</a:cxnLst>
                    <a:rect l="l" t="t" r="r" b="b"/>
                    <a:pathLst>
                      <a:path w="342246" h="270928">
                        <a:moveTo>
                          <a:pt x="342246" y="84025"/>
                        </a:moveTo>
                        <a:cubicBezTo>
                          <a:pt x="293851" y="92097"/>
                          <a:pt x="259249" y="41136"/>
                          <a:pt x="219801" y="11965"/>
                        </a:cubicBezTo>
                        <a:cubicBezTo>
                          <a:pt x="213855" y="7567"/>
                          <a:pt x="207539" y="3698"/>
                          <a:pt x="201110" y="0"/>
                        </a:cubicBezTo>
                        <a:lnTo>
                          <a:pt x="200292" y="2259"/>
                        </a:lnTo>
                        <a:cubicBezTo>
                          <a:pt x="200678" y="2618"/>
                          <a:pt x="199890" y="5054"/>
                          <a:pt x="200461" y="6693"/>
                        </a:cubicBezTo>
                        <a:cubicBezTo>
                          <a:pt x="200958" y="8086"/>
                          <a:pt x="201650" y="9446"/>
                          <a:pt x="202322" y="10806"/>
                        </a:cubicBezTo>
                        <a:cubicBezTo>
                          <a:pt x="204203" y="14578"/>
                          <a:pt x="206544" y="19277"/>
                          <a:pt x="205498" y="24704"/>
                        </a:cubicBezTo>
                        <a:cubicBezTo>
                          <a:pt x="204125" y="31881"/>
                          <a:pt x="197917" y="35632"/>
                          <a:pt x="192933" y="38647"/>
                        </a:cubicBezTo>
                        <a:cubicBezTo>
                          <a:pt x="188475" y="41339"/>
                          <a:pt x="185759" y="43139"/>
                          <a:pt x="185528" y="45447"/>
                        </a:cubicBezTo>
                        <a:cubicBezTo>
                          <a:pt x="185393" y="46822"/>
                          <a:pt x="186173" y="48606"/>
                          <a:pt x="187068" y="50668"/>
                        </a:cubicBezTo>
                        <a:cubicBezTo>
                          <a:pt x="187815" y="52380"/>
                          <a:pt x="188540" y="54102"/>
                          <a:pt x="189000" y="55876"/>
                        </a:cubicBezTo>
                        <a:cubicBezTo>
                          <a:pt x="190362" y="61173"/>
                          <a:pt x="189227" y="66994"/>
                          <a:pt x="185861" y="71849"/>
                        </a:cubicBezTo>
                        <a:cubicBezTo>
                          <a:pt x="182495" y="76693"/>
                          <a:pt x="177448" y="79813"/>
                          <a:pt x="172003" y="80393"/>
                        </a:cubicBezTo>
                        <a:cubicBezTo>
                          <a:pt x="166639" y="80941"/>
                          <a:pt x="160977" y="78985"/>
                          <a:pt x="156667" y="74933"/>
                        </a:cubicBezTo>
                        <a:cubicBezTo>
                          <a:pt x="155072" y="73435"/>
                          <a:pt x="153746" y="71738"/>
                          <a:pt x="152718" y="69925"/>
                        </a:cubicBezTo>
                        <a:cubicBezTo>
                          <a:pt x="151079" y="70766"/>
                          <a:pt x="149284" y="71368"/>
                          <a:pt x="147364" y="71714"/>
                        </a:cubicBezTo>
                        <a:cubicBezTo>
                          <a:pt x="135898" y="73765"/>
                          <a:pt x="122480" y="66770"/>
                          <a:pt x="114344" y="60159"/>
                        </a:cubicBezTo>
                        <a:cubicBezTo>
                          <a:pt x="112045" y="58316"/>
                          <a:pt x="91703" y="42281"/>
                          <a:pt x="83390" y="52086"/>
                        </a:cubicBezTo>
                        <a:cubicBezTo>
                          <a:pt x="81019" y="54876"/>
                          <a:pt x="79857" y="59674"/>
                          <a:pt x="78735" y="64305"/>
                        </a:cubicBezTo>
                        <a:cubicBezTo>
                          <a:pt x="77912" y="67693"/>
                          <a:pt x="76960" y="71401"/>
                          <a:pt x="75399" y="74704"/>
                        </a:cubicBezTo>
                        <a:cubicBezTo>
                          <a:pt x="84925" y="87840"/>
                          <a:pt x="85696" y="107161"/>
                          <a:pt x="76146" y="120488"/>
                        </a:cubicBezTo>
                        <a:lnTo>
                          <a:pt x="74057" y="123400"/>
                        </a:lnTo>
                        <a:lnTo>
                          <a:pt x="25075" y="111428"/>
                        </a:lnTo>
                        <a:cubicBezTo>
                          <a:pt x="22225" y="110745"/>
                          <a:pt x="18672" y="109881"/>
                          <a:pt x="15471" y="107868"/>
                        </a:cubicBezTo>
                        <a:cubicBezTo>
                          <a:pt x="13758" y="106797"/>
                          <a:pt x="12226" y="105422"/>
                          <a:pt x="10716" y="104026"/>
                        </a:cubicBezTo>
                        <a:cubicBezTo>
                          <a:pt x="9300" y="102702"/>
                          <a:pt x="8072" y="101563"/>
                          <a:pt x="6826" y="101004"/>
                        </a:cubicBezTo>
                        <a:cubicBezTo>
                          <a:pt x="4874" y="100118"/>
                          <a:pt x="2056" y="100896"/>
                          <a:pt x="818" y="102653"/>
                        </a:cubicBezTo>
                        <a:cubicBezTo>
                          <a:pt x="-431" y="104419"/>
                          <a:pt x="-223" y="107324"/>
                          <a:pt x="1259" y="108874"/>
                        </a:cubicBezTo>
                        <a:cubicBezTo>
                          <a:pt x="1654" y="109296"/>
                          <a:pt x="2102" y="109664"/>
                          <a:pt x="2549" y="110033"/>
                        </a:cubicBezTo>
                        <a:cubicBezTo>
                          <a:pt x="4018" y="111296"/>
                          <a:pt x="5860" y="112854"/>
                          <a:pt x="6964" y="115389"/>
                        </a:cubicBezTo>
                        <a:cubicBezTo>
                          <a:pt x="7942" y="117639"/>
                          <a:pt x="7900" y="119985"/>
                          <a:pt x="7263" y="122280"/>
                        </a:cubicBezTo>
                        <a:cubicBezTo>
                          <a:pt x="13955" y="122786"/>
                          <a:pt x="21041" y="124245"/>
                          <a:pt x="27118" y="128271"/>
                        </a:cubicBezTo>
                        <a:cubicBezTo>
                          <a:pt x="33145" y="132270"/>
                          <a:pt x="37451" y="139541"/>
                          <a:pt x="38084" y="146815"/>
                        </a:cubicBezTo>
                        <a:cubicBezTo>
                          <a:pt x="38595" y="152729"/>
                          <a:pt x="36700" y="158039"/>
                          <a:pt x="32746" y="161781"/>
                        </a:cubicBezTo>
                        <a:cubicBezTo>
                          <a:pt x="32273" y="162220"/>
                          <a:pt x="31781" y="162637"/>
                          <a:pt x="31276" y="163064"/>
                        </a:cubicBezTo>
                        <a:cubicBezTo>
                          <a:pt x="31050" y="163250"/>
                          <a:pt x="30773" y="163481"/>
                          <a:pt x="30527" y="163702"/>
                        </a:cubicBezTo>
                        <a:cubicBezTo>
                          <a:pt x="31213" y="164069"/>
                          <a:pt x="32259" y="164463"/>
                          <a:pt x="33544" y="164651"/>
                        </a:cubicBezTo>
                        <a:cubicBezTo>
                          <a:pt x="36411" y="165063"/>
                          <a:pt x="39319" y="165301"/>
                          <a:pt x="42229" y="165546"/>
                        </a:cubicBezTo>
                        <a:cubicBezTo>
                          <a:pt x="50011" y="166193"/>
                          <a:pt x="58063" y="166867"/>
                          <a:pt x="65598" y="170513"/>
                        </a:cubicBezTo>
                        <a:cubicBezTo>
                          <a:pt x="72647" y="173924"/>
                          <a:pt x="78359" y="180926"/>
                          <a:pt x="80130" y="188349"/>
                        </a:cubicBezTo>
                        <a:cubicBezTo>
                          <a:pt x="80503" y="189897"/>
                          <a:pt x="80703" y="191437"/>
                          <a:pt x="80720" y="192937"/>
                        </a:cubicBezTo>
                        <a:cubicBezTo>
                          <a:pt x="83605" y="192510"/>
                          <a:pt x="86636" y="192519"/>
                          <a:pt x="89694" y="193448"/>
                        </a:cubicBezTo>
                        <a:cubicBezTo>
                          <a:pt x="94223" y="194822"/>
                          <a:pt x="98068" y="198692"/>
                          <a:pt x="99488" y="203295"/>
                        </a:cubicBezTo>
                        <a:cubicBezTo>
                          <a:pt x="100676" y="207144"/>
                          <a:pt x="100012" y="211027"/>
                          <a:pt x="97654" y="213961"/>
                        </a:cubicBezTo>
                        <a:cubicBezTo>
                          <a:pt x="94735" y="217593"/>
                          <a:pt x="90594" y="218483"/>
                          <a:pt x="87269" y="219202"/>
                        </a:cubicBezTo>
                        <a:cubicBezTo>
                          <a:pt x="86515" y="219364"/>
                          <a:pt x="85760" y="219512"/>
                          <a:pt x="85037" y="219717"/>
                        </a:cubicBezTo>
                        <a:cubicBezTo>
                          <a:pt x="88801" y="220732"/>
                          <a:pt x="92930" y="221157"/>
                          <a:pt x="97228" y="221601"/>
                        </a:cubicBezTo>
                        <a:cubicBezTo>
                          <a:pt x="105930" y="222497"/>
                          <a:pt x="114926" y="223432"/>
                          <a:pt x="122355" y="229387"/>
                        </a:cubicBezTo>
                        <a:cubicBezTo>
                          <a:pt x="126508" y="232719"/>
                          <a:pt x="129228" y="236908"/>
                          <a:pt x="131855" y="240973"/>
                        </a:cubicBezTo>
                        <a:cubicBezTo>
                          <a:pt x="132744" y="242351"/>
                          <a:pt x="133634" y="243721"/>
                          <a:pt x="134584" y="245048"/>
                        </a:cubicBezTo>
                        <a:cubicBezTo>
                          <a:pt x="139297" y="251637"/>
                          <a:pt x="145840" y="256959"/>
                          <a:pt x="153188" y="260490"/>
                        </a:cubicBezTo>
                        <a:cubicBezTo>
                          <a:pt x="154254" y="258477"/>
                          <a:pt x="155313" y="256461"/>
                          <a:pt x="156292" y="254438"/>
                        </a:cubicBezTo>
                        <a:cubicBezTo>
                          <a:pt x="166363" y="233620"/>
                          <a:pt x="174153" y="210963"/>
                          <a:pt x="190213" y="194324"/>
                        </a:cubicBezTo>
                        <a:cubicBezTo>
                          <a:pt x="206273" y="177683"/>
                          <a:pt x="234292" y="169371"/>
                          <a:pt x="252604" y="183497"/>
                        </a:cubicBezTo>
                        <a:cubicBezTo>
                          <a:pt x="267319" y="209777"/>
                          <a:pt x="271995" y="241520"/>
                          <a:pt x="265483" y="270929"/>
                        </a:cubicBezTo>
                        <a:cubicBezTo>
                          <a:pt x="280404" y="267694"/>
                          <a:pt x="295691" y="266166"/>
                          <a:pt x="310955" y="266385"/>
                        </a:cubicBezTo>
                        <a:cubicBezTo>
                          <a:pt x="308926" y="227480"/>
                          <a:pt x="310422" y="194306"/>
                          <a:pt x="308390" y="155401"/>
                        </a:cubicBezTo>
                        <a:cubicBezTo>
                          <a:pt x="306867" y="126230"/>
                          <a:pt x="313202" y="87130"/>
                          <a:pt x="342246" y="84025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grpSp>
              <p:nvGrpSpPr>
                <p:cNvPr id="207" name="Gráfico 16">
                  <a:extLst>
                    <a:ext uri="{FF2B5EF4-FFF2-40B4-BE49-F238E27FC236}">
                      <a16:creationId xmlns:a16="http://schemas.microsoft.com/office/drawing/2014/main" id="{6E5E2C25-B0AE-D34C-BEE7-2FA51D9D5E41}"/>
                    </a:ext>
                  </a:extLst>
                </p:cNvPr>
                <p:cNvGrpSpPr/>
                <p:nvPr/>
              </p:nvGrpSpPr>
              <p:grpSpPr>
                <a:xfrm>
                  <a:off x="6471464" y="3051292"/>
                  <a:ext cx="246751" cy="260711"/>
                  <a:chOff x="6471464" y="3051292"/>
                  <a:chExt cx="246751" cy="260711"/>
                </a:xfrm>
                <a:grpFill/>
              </p:grpSpPr>
              <p:sp>
                <p:nvSpPr>
                  <p:cNvPr id="227" name="Forma libre 226">
                    <a:extLst>
                      <a:ext uri="{FF2B5EF4-FFF2-40B4-BE49-F238E27FC236}">
                        <a16:creationId xmlns:a16="http://schemas.microsoft.com/office/drawing/2014/main" id="{146F6F6C-BB22-5140-B85E-5058F4BD597A}"/>
                      </a:ext>
                    </a:extLst>
                  </p:cNvPr>
                  <p:cNvSpPr/>
                  <p:nvPr/>
                </p:nvSpPr>
                <p:spPr>
                  <a:xfrm>
                    <a:off x="6471464" y="3051292"/>
                    <a:ext cx="210144" cy="164842"/>
                  </a:xfrm>
                  <a:custGeom>
                    <a:avLst/>
                    <a:gdLst>
                      <a:gd name="connsiteX0" fmla="*/ 112199 w 210144"/>
                      <a:gd name="connsiteY0" fmla="*/ 164473 h 164842"/>
                      <a:gd name="connsiteX1" fmla="*/ 113792 w 210144"/>
                      <a:gd name="connsiteY1" fmla="*/ 162536 h 164842"/>
                      <a:gd name="connsiteX2" fmla="*/ 130376 w 210144"/>
                      <a:gd name="connsiteY2" fmla="*/ 162971 h 164842"/>
                      <a:gd name="connsiteX3" fmla="*/ 138672 w 210144"/>
                      <a:gd name="connsiteY3" fmla="*/ 159029 h 164842"/>
                      <a:gd name="connsiteX4" fmla="*/ 151755 w 210144"/>
                      <a:gd name="connsiteY4" fmla="*/ 153335 h 164842"/>
                      <a:gd name="connsiteX5" fmla="*/ 180036 w 210144"/>
                      <a:gd name="connsiteY5" fmla="*/ 152409 h 164842"/>
                      <a:gd name="connsiteX6" fmla="*/ 196465 w 210144"/>
                      <a:gd name="connsiteY6" fmla="*/ 154418 h 164842"/>
                      <a:gd name="connsiteX7" fmla="*/ 210145 w 210144"/>
                      <a:gd name="connsiteY7" fmla="*/ 158230 h 164842"/>
                      <a:gd name="connsiteX8" fmla="*/ 161478 w 210144"/>
                      <a:gd name="connsiteY8" fmla="*/ 93822 h 164842"/>
                      <a:gd name="connsiteX9" fmla="*/ 152467 w 210144"/>
                      <a:gd name="connsiteY9" fmla="*/ 81113 h 164842"/>
                      <a:gd name="connsiteX10" fmla="*/ 153977 w 210144"/>
                      <a:gd name="connsiteY10" fmla="*/ 66034 h 164842"/>
                      <a:gd name="connsiteX11" fmla="*/ 155591 w 210144"/>
                      <a:gd name="connsiteY11" fmla="*/ 59412 h 164842"/>
                      <a:gd name="connsiteX12" fmla="*/ 142073 w 210144"/>
                      <a:gd name="connsiteY12" fmla="*/ 41330 h 164842"/>
                      <a:gd name="connsiteX13" fmla="*/ 113693 w 210144"/>
                      <a:gd name="connsiteY13" fmla="*/ 38750 h 164842"/>
                      <a:gd name="connsiteX14" fmla="*/ 106558 w 210144"/>
                      <a:gd name="connsiteY14" fmla="*/ 39083 h 164842"/>
                      <a:gd name="connsiteX15" fmla="*/ 108317 w 210144"/>
                      <a:gd name="connsiteY15" fmla="*/ 32161 h 164842"/>
                      <a:gd name="connsiteX16" fmla="*/ 103078 w 210144"/>
                      <a:gd name="connsiteY16" fmla="*/ 13583 h 164842"/>
                      <a:gd name="connsiteX17" fmla="*/ 64432 w 210144"/>
                      <a:gd name="connsiteY17" fmla="*/ 385 h 164842"/>
                      <a:gd name="connsiteX18" fmla="*/ 32491 w 210144"/>
                      <a:gd name="connsiteY18" fmla="*/ 9943 h 164842"/>
                      <a:gd name="connsiteX19" fmla="*/ 0 w 210144"/>
                      <a:gd name="connsiteY19" fmla="*/ 19640 h 164842"/>
                      <a:gd name="connsiteX20" fmla="*/ 20943 w 210144"/>
                      <a:gd name="connsiteY20" fmla="*/ 37026 h 164842"/>
                      <a:gd name="connsiteX21" fmla="*/ 28548 w 210144"/>
                      <a:gd name="connsiteY21" fmla="*/ 47043 h 164842"/>
                      <a:gd name="connsiteX22" fmla="*/ 53829 w 210144"/>
                      <a:gd name="connsiteY22" fmla="*/ 72183 h 164842"/>
                      <a:gd name="connsiteX23" fmla="*/ 58362 w 210144"/>
                      <a:gd name="connsiteY23" fmla="*/ 74104 h 164842"/>
                      <a:gd name="connsiteX24" fmla="*/ 75046 w 210144"/>
                      <a:gd name="connsiteY24" fmla="*/ 86514 h 164842"/>
                      <a:gd name="connsiteX25" fmla="*/ 77230 w 210144"/>
                      <a:gd name="connsiteY25" fmla="*/ 93768 h 164842"/>
                      <a:gd name="connsiteX26" fmla="*/ 78936 w 210144"/>
                      <a:gd name="connsiteY26" fmla="*/ 99051 h 164842"/>
                      <a:gd name="connsiteX27" fmla="*/ 84029 w 210144"/>
                      <a:gd name="connsiteY27" fmla="*/ 102375 h 164842"/>
                      <a:gd name="connsiteX28" fmla="*/ 86894 w 210144"/>
                      <a:gd name="connsiteY28" fmla="*/ 103852 h 164842"/>
                      <a:gd name="connsiteX29" fmla="*/ 109880 w 210144"/>
                      <a:gd name="connsiteY29" fmla="*/ 148558 h 164842"/>
                      <a:gd name="connsiteX30" fmla="*/ 112199 w 210144"/>
                      <a:gd name="connsiteY30" fmla="*/ 164473 h 1648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</a:cxnLst>
                    <a:rect l="l" t="t" r="r" b="b"/>
                    <a:pathLst>
                      <a:path w="210144" h="164842">
                        <a:moveTo>
                          <a:pt x="112199" y="164473"/>
                        </a:moveTo>
                        <a:lnTo>
                          <a:pt x="113792" y="162536"/>
                        </a:lnTo>
                        <a:cubicBezTo>
                          <a:pt x="118039" y="166009"/>
                          <a:pt x="125116" y="165056"/>
                          <a:pt x="130376" y="162971"/>
                        </a:cubicBezTo>
                        <a:cubicBezTo>
                          <a:pt x="133222" y="161851"/>
                          <a:pt x="135952" y="160435"/>
                          <a:pt x="138672" y="159029"/>
                        </a:cubicBezTo>
                        <a:cubicBezTo>
                          <a:pt x="142773" y="156909"/>
                          <a:pt x="147017" y="154716"/>
                          <a:pt x="151755" y="153335"/>
                        </a:cubicBezTo>
                        <a:cubicBezTo>
                          <a:pt x="161374" y="150523"/>
                          <a:pt x="171300" y="151533"/>
                          <a:pt x="180036" y="152409"/>
                        </a:cubicBezTo>
                        <a:cubicBezTo>
                          <a:pt x="185522" y="152948"/>
                          <a:pt x="191028" y="153506"/>
                          <a:pt x="196465" y="154418"/>
                        </a:cubicBezTo>
                        <a:cubicBezTo>
                          <a:pt x="201698" y="155289"/>
                          <a:pt x="206116" y="156639"/>
                          <a:pt x="210145" y="158230"/>
                        </a:cubicBezTo>
                        <a:cubicBezTo>
                          <a:pt x="197476" y="134337"/>
                          <a:pt x="181000" y="112372"/>
                          <a:pt x="161478" y="93822"/>
                        </a:cubicBezTo>
                        <a:cubicBezTo>
                          <a:pt x="158060" y="90578"/>
                          <a:pt x="153936" y="86667"/>
                          <a:pt x="152467" y="81113"/>
                        </a:cubicBezTo>
                        <a:cubicBezTo>
                          <a:pt x="151008" y="75602"/>
                          <a:pt x="152584" y="70521"/>
                          <a:pt x="153977" y="66034"/>
                        </a:cubicBezTo>
                        <a:cubicBezTo>
                          <a:pt x="154704" y="63682"/>
                          <a:pt x="155400" y="61453"/>
                          <a:pt x="155591" y="59412"/>
                        </a:cubicBezTo>
                        <a:cubicBezTo>
                          <a:pt x="156338" y="51392"/>
                          <a:pt x="149354" y="44245"/>
                          <a:pt x="142073" y="41330"/>
                        </a:cubicBezTo>
                        <a:cubicBezTo>
                          <a:pt x="133370" y="37837"/>
                          <a:pt x="122928" y="38318"/>
                          <a:pt x="113693" y="38750"/>
                        </a:cubicBezTo>
                        <a:lnTo>
                          <a:pt x="106558" y="39083"/>
                        </a:lnTo>
                        <a:lnTo>
                          <a:pt x="108317" y="32161"/>
                        </a:lnTo>
                        <a:cubicBezTo>
                          <a:pt x="110396" y="23923"/>
                          <a:pt x="106614" y="17519"/>
                          <a:pt x="103078" y="13583"/>
                        </a:cubicBezTo>
                        <a:cubicBezTo>
                          <a:pt x="94410" y="3956"/>
                          <a:pt x="78245" y="-1550"/>
                          <a:pt x="64432" y="385"/>
                        </a:cubicBezTo>
                        <a:cubicBezTo>
                          <a:pt x="53623" y="1955"/>
                          <a:pt x="43362" y="5829"/>
                          <a:pt x="32491" y="9943"/>
                        </a:cubicBezTo>
                        <a:cubicBezTo>
                          <a:pt x="22056" y="13880"/>
                          <a:pt x="11301" y="17797"/>
                          <a:pt x="0" y="19640"/>
                        </a:cubicBezTo>
                        <a:cubicBezTo>
                          <a:pt x="8197" y="23857"/>
                          <a:pt x="15549" y="30351"/>
                          <a:pt x="20943" y="37026"/>
                        </a:cubicBezTo>
                        <a:cubicBezTo>
                          <a:pt x="23555" y="40254"/>
                          <a:pt x="26052" y="43648"/>
                          <a:pt x="28548" y="47043"/>
                        </a:cubicBezTo>
                        <a:cubicBezTo>
                          <a:pt x="36154" y="57422"/>
                          <a:pt x="43345" y="67234"/>
                          <a:pt x="53829" y="72183"/>
                        </a:cubicBezTo>
                        <a:cubicBezTo>
                          <a:pt x="55283" y="72864"/>
                          <a:pt x="56816" y="73484"/>
                          <a:pt x="58362" y="74104"/>
                        </a:cubicBezTo>
                        <a:cubicBezTo>
                          <a:pt x="64546" y="76611"/>
                          <a:pt x="71559" y="79445"/>
                          <a:pt x="75046" y="86514"/>
                        </a:cubicBezTo>
                        <a:cubicBezTo>
                          <a:pt x="76264" y="88977"/>
                          <a:pt x="76780" y="91527"/>
                          <a:pt x="77230" y="93768"/>
                        </a:cubicBezTo>
                        <a:cubicBezTo>
                          <a:pt x="77680" y="95968"/>
                          <a:pt x="78058" y="97868"/>
                          <a:pt x="78936" y="99051"/>
                        </a:cubicBezTo>
                        <a:cubicBezTo>
                          <a:pt x="79886" y="100336"/>
                          <a:pt x="81902" y="101325"/>
                          <a:pt x="84029" y="102375"/>
                        </a:cubicBezTo>
                        <a:cubicBezTo>
                          <a:pt x="84995" y="102853"/>
                          <a:pt x="85969" y="103333"/>
                          <a:pt x="86894" y="103852"/>
                        </a:cubicBezTo>
                        <a:cubicBezTo>
                          <a:pt x="102328" y="112467"/>
                          <a:pt x="107176" y="131285"/>
                          <a:pt x="109880" y="148558"/>
                        </a:cubicBezTo>
                        <a:cubicBezTo>
                          <a:pt x="110711" y="153848"/>
                          <a:pt x="111434" y="159166"/>
                          <a:pt x="112199" y="164473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8" name="Forma libre 227">
                    <a:extLst>
                      <a:ext uri="{FF2B5EF4-FFF2-40B4-BE49-F238E27FC236}">
                        <a16:creationId xmlns:a16="http://schemas.microsoft.com/office/drawing/2014/main" id="{C9BC4E15-E4A5-BA49-AD87-3C098F98108E}"/>
                      </a:ext>
                    </a:extLst>
                  </p:cNvPr>
                  <p:cNvSpPr/>
                  <p:nvPr/>
                </p:nvSpPr>
                <p:spPr>
                  <a:xfrm>
                    <a:off x="6585070" y="3213361"/>
                    <a:ext cx="133145" cy="98642"/>
                  </a:xfrm>
                  <a:custGeom>
                    <a:avLst/>
                    <a:gdLst>
                      <a:gd name="connsiteX0" fmla="*/ 133146 w 133145"/>
                      <a:gd name="connsiteY0" fmla="*/ 57888 h 98642"/>
                      <a:gd name="connsiteX1" fmla="*/ 96965 w 133145"/>
                      <a:gd name="connsiteY1" fmla="*/ 24162 h 98642"/>
                      <a:gd name="connsiteX2" fmla="*/ 106261 w 133145"/>
                      <a:gd name="connsiteY2" fmla="*/ 16519 h 98642"/>
                      <a:gd name="connsiteX3" fmla="*/ 104660 w 133145"/>
                      <a:gd name="connsiteY3" fmla="*/ 12971 h 98642"/>
                      <a:gd name="connsiteX4" fmla="*/ 103745 w 133145"/>
                      <a:gd name="connsiteY4" fmla="*/ 13644 h 98642"/>
                      <a:gd name="connsiteX5" fmla="*/ 81115 w 133145"/>
                      <a:gd name="connsiteY5" fmla="*/ 2788 h 98642"/>
                      <a:gd name="connsiteX6" fmla="*/ 65380 w 133145"/>
                      <a:gd name="connsiteY6" fmla="*/ 879 h 98642"/>
                      <a:gd name="connsiteX7" fmla="*/ 41120 w 133145"/>
                      <a:gd name="connsiteY7" fmla="*/ 1433 h 98642"/>
                      <a:gd name="connsiteX8" fmla="*/ 29934 w 133145"/>
                      <a:gd name="connsiteY8" fmla="*/ 6369 h 98642"/>
                      <a:gd name="connsiteX9" fmla="*/ 20648 w 133145"/>
                      <a:gd name="connsiteY9" fmla="*/ 10762 h 98642"/>
                      <a:gd name="connsiteX10" fmla="*/ 0 w 133145"/>
                      <a:gd name="connsiteY10" fmla="*/ 12053 h 98642"/>
                      <a:gd name="connsiteX11" fmla="*/ 8824 w 133145"/>
                      <a:gd name="connsiteY11" fmla="*/ 97275 h 98642"/>
                      <a:gd name="connsiteX12" fmla="*/ 29234 w 133145"/>
                      <a:gd name="connsiteY12" fmla="*/ 93678 h 98642"/>
                      <a:gd name="connsiteX13" fmla="*/ 32827 w 133145"/>
                      <a:gd name="connsiteY13" fmla="*/ 91406 h 98642"/>
                      <a:gd name="connsiteX14" fmla="*/ 60579 w 133145"/>
                      <a:gd name="connsiteY14" fmla="*/ 81858 h 98642"/>
                      <a:gd name="connsiteX15" fmla="*/ 72681 w 133145"/>
                      <a:gd name="connsiteY15" fmla="*/ 86072 h 98642"/>
                      <a:gd name="connsiteX16" fmla="*/ 95870 w 133145"/>
                      <a:gd name="connsiteY16" fmla="*/ 97138 h 98642"/>
                      <a:gd name="connsiteX17" fmla="*/ 79747 w 133145"/>
                      <a:gd name="connsiteY17" fmla="*/ 62326 h 98642"/>
                      <a:gd name="connsiteX18" fmla="*/ 133146 w 133145"/>
                      <a:gd name="connsiteY18" fmla="*/ 57888 h 986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133145" h="98642">
                        <a:moveTo>
                          <a:pt x="133146" y="57888"/>
                        </a:moveTo>
                        <a:cubicBezTo>
                          <a:pt x="121085" y="46646"/>
                          <a:pt x="109025" y="35403"/>
                          <a:pt x="96965" y="24162"/>
                        </a:cubicBezTo>
                        <a:cubicBezTo>
                          <a:pt x="96754" y="19335"/>
                          <a:pt x="101228" y="16816"/>
                          <a:pt x="106261" y="16519"/>
                        </a:cubicBezTo>
                        <a:cubicBezTo>
                          <a:pt x="105758" y="15324"/>
                          <a:pt x="105183" y="14158"/>
                          <a:pt x="104660" y="12971"/>
                        </a:cubicBezTo>
                        <a:lnTo>
                          <a:pt x="103745" y="13644"/>
                        </a:lnTo>
                        <a:cubicBezTo>
                          <a:pt x="99754" y="8214"/>
                          <a:pt x="92352" y="4659"/>
                          <a:pt x="81115" y="2788"/>
                        </a:cubicBezTo>
                        <a:cubicBezTo>
                          <a:pt x="75908" y="1918"/>
                          <a:pt x="70647" y="1398"/>
                          <a:pt x="65380" y="879"/>
                        </a:cubicBezTo>
                        <a:cubicBezTo>
                          <a:pt x="57203" y="40"/>
                          <a:pt x="48735" y="-804"/>
                          <a:pt x="41120" y="1433"/>
                        </a:cubicBezTo>
                        <a:cubicBezTo>
                          <a:pt x="37363" y="2528"/>
                          <a:pt x="33756" y="4396"/>
                          <a:pt x="29934" y="6369"/>
                        </a:cubicBezTo>
                        <a:cubicBezTo>
                          <a:pt x="26883" y="7943"/>
                          <a:pt x="23825" y="9506"/>
                          <a:pt x="20648" y="10762"/>
                        </a:cubicBezTo>
                        <a:cubicBezTo>
                          <a:pt x="13211" y="13679"/>
                          <a:pt x="5969" y="14007"/>
                          <a:pt x="0" y="12053"/>
                        </a:cubicBezTo>
                        <a:cubicBezTo>
                          <a:pt x="3867" y="40402"/>
                          <a:pt x="6837" y="68955"/>
                          <a:pt x="8824" y="97275"/>
                        </a:cubicBezTo>
                        <a:cubicBezTo>
                          <a:pt x="13884" y="100350"/>
                          <a:pt x="22480" y="97846"/>
                          <a:pt x="29234" y="93678"/>
                        </a:cubicBezTo>
                        <a:lnTo>
                          <a:pt x="32827" y="91406"/>
                        </a:lnTo>
                        <a:cubicBezTo>
                          <a:pt x="40856" y="86246"/>
                          <a:pt x="49915" y="80450"/>
                          <a:pt x="60579" y="81858"/>
                        </a:cubicBezTo>
                        <a:cubicBezTo>
                          <a:pt x="65156" y="82476"/>
                          <a:pt x="69152" y="84380"/>
                          <a:pt x="72681" y="86072"/>
                        </a:cubicBezTo>
                        <a:lnTo>
                          <a:pt x="95870" y="97138"/>
                        </a:lnTo>
                        <a:cubicBezTo>
                          <a:pt x="91782" y="85129"/>
                          <a:pt x="85753" y="73541"/>
                          <a:pt x="79747" y="62326"/>
                        </a:cubicBezTo>
                        <a:cubicBezTo>
                          <a:pt x="97547" y="60845"/>
                          <a:pt x="115344" y="59367"/>
                          <a:pt x="133146" y="57888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grpSp>
              <p:nvGrpSpPr>
                <p:cNvPr id="208" name="Gráfico 16">
                  <a:extLst>
                    <a:ext uri="{FF2B5EF4-FFF2-40B4-BE49-F238E27FC236}">
                      <a16:creationId xmlns:a16="http://schemas.microsoft.com/office/drawing/2014/main" id="{5C541092-928D-7748-A0EC-A65D070274F0}"/>
                    </a:ext>
                  </a:extLst>
                </p:cNvPr>
                <p:cNvGrpSpPr/>
                <p:nvPr/>
              </p:nvGrpSpPr>
              <p:grpSpPr>
                <a:xfrm>
                  <a:off x="5859548" y="3077011"/>
                  <a:ext cx="831191" cy="1034824"/>
                  <a:chOff x="5859548" y="3077011"/>
                  <a:chExt cx="831191" cy="1034824"/>
                </a:xfrm>
                <a:grpFill/>
              </p:grpSpPr>
              <p:sp>
                <p:nvSpPr>
                  <p:cNvPr id="219" name="Forma libre 218">
                    <a:extLst>
                      <a:ext uri="{FF2B5EF4-FFF2-40B4-BE49-F238E27FC236}">
                        <a16:creationId xmlns:a16="http://schemas.microsoft.com/office/drawing/2014/main" id="{B5AD33F8-9A6B-B64F-A3F8-0E4EA3BD4800}"/>
                      </a:ext>
                    </a:extLst>
                  </p:cNvPr>
                  <p:cNvSpPr/>
                  <p:nvPr/>
                </p:nvSpPr>
                <p:spPr>
                  <a:xfrm>
                    <a:off x="6085328" y="3565104"/>
                    <a:ext cx="177354" cy="172606"/>
                  </a:xfrm>
                  <a:custGeom>
                    <a:avLst/>
                    <a:gdLst>
                      <a:gd name="connsiteX0" fmla="*/ 68476 w 177354"/>
                      <a:gd name="connsiteY0" fmla="*/ 171312 h 172606"/>
                      <a:gd name="connsiteX1" fmla="*/ 70570 w 177354"/>
                      <a:gd name="connsiteY1" fmla="*/ 171658 h 172606"/>
                      <a:gd name="connsiteX2" fmla="*/ 142830 w 177354"/>
                      <a:gd name="connsiteY2" fmla="*/ 158384 h 172606"/>
                      <a:gd name="connsiteX3" fmla="*/ 174627 w 177354"/>
                      <a:gd name="connsiteY3" fmla="*/ 136548 h 172606"/>
                      <a:gd name="connsiteX4" fmla="*/ 174444 w 177354"/>
                      <a:gd name="connsiteY4" fmla="*/ 102492 h 172606"/>
                      <a:gd name="connsiteX5" fmla="*/ 159950 w 177354"/>
                      <a:gd name="connsiteY5" fmla="*/ 66163 h 172606"/>
                      <a:gd name="connsiteX6" fmla="*/ 142430 w 177354"/>
                      <a:gd name="connsiteY6" fmla="*/ 71940 h 172606"/>
                      <a:gd name="connsiteX7" fmla="*/ 111715 w 177354"/>
                      <a:gd name="connsiteY7" fmla="*/ 83475 h 172606"/>
                      <a:gd name="connsiteX8" fmla="*/ 107163 w 177354"/>
                      <a:gd name="connsiteY8" fmla="*/ 82052 h 172606"/>
                      <a:gd name="connsiteX9" fmla="*/ 108111 w 177354"/>
                      <a:gd name="connsiteY9" fmla="*/ 77370 h 172606"/>
                      <a:gd name="connsiteX10" fmla="*/ 104289 w 177354"/>
                      <a:gd name="connsiteY10" fmla="*/ 72401 h 172606"/>
                      <a:gd name="connsiteX11" fmla="*/ 96980 w 177354"/>
                      <a:gd name="connsiteY11" fmla="*/ 61926 h 172606"/>
                      <a:gd name="connsiteX12" fmla="*/ 96699 w 177354"/>
                      <a:gd name="connsiteY12" fmla="*/ 54948 h 172606"/>
                      <a:gd name="connsiteX13" fmla="*/ 96792 w 177354"/>
                      <a:gd name="connsiteY13" fmla="*/ 51854 h 172606"/>
                      <a:gd name="connsiteX14" fmla="*/ 85193 w 177354"/>
                      <a:gd name="connsiteY14" fmla="*/ 43088 h 172606"/>
                      <a:gd name="connsiteX15" fmla="*/ 72959 w 177354"/>
                      <a:gd name="connsiteY15" fmla="*/ 36540 h 172606"/>
                      <a:gd name="connsiteX16" fmla="*/ 61673 w 177354"/>
                      <a:gd name="connsiteY16" fmla="*/ 19672 h 172606"/>
                      <a:gd name="connsiteX17" fmla="*/ 56971 w 177354"/>
                      <a:gd name="connsiteY17" fmla="*/ 10564 h 172606"/>
                      <a:gd name="connsiteX18" fmla="*/ 37581 w 177354"/>
                      <a:gd name="connsiteY18" fmla="*/ 77 h 172606"/>
                      <a:gd name="connsiteX19" fmla="*/ 16762 w 177354"/>
                      <a:gd name="connsiteY19" fmla="*/ 7277 h 172606"/>
                      <a:gd name="connsiteX20" fmla="*/ 15234 w 177354"/>
                      <a:gd name="connsiteY20" fmla="*/ 9191 h 172606"/>
                      <a:gd name="connsiteX21" fmla="*/ 14333 w 177354"/>
                      <a:gd name="connsiteY21" fmla="*/ 12292 h 172606"/>
                      <a:gd name="connsiteX22" fmla="*/ 13182 w 177354"/>
                      <a:gd name="connsiteY22" fmla="*/ 11799 h 172606"/>
                      <a:gd name="connsiteX23" fmla="*/ 10127 w 177354"/>
                      <a:gd name="connsiteY23" fmla="*/ 16502 h 172606"/>
                      <a:gd name="connsiteX24" fmla="*/ 0 w 177354"/>
                      <a:gd name="connsiteY24" fmla="*/ 31965 h 172606"/>
                      <a:gd name="connsiteX25" fmla="*/ 2625 w 177354"/>
                      <a:gd name="connsiteY25" fmla="*/ 35900 h 172606"/>
                      <a:gd name="connsiteX26" fmla="*/ 2089 w 177354"/>
                      <a:gd name="connsiteY26" fmla="*/ 37010 h 172606"/>
                      <a:gd name="connsiteX27" fmla="*/ 3630 w 177354"/>
                      <a:gd name="connsiteY27" fmla="*/ 41799 h 172606"/>
                      <a:gd name="connsiteX28" fmla="*/ 9992 w 177354"/>
                      <a:gd name="connsiteY28" fmla="*/ 46725 h 172606"/>
                      <a:gd name="connsiteX29" fmla="*/ 15325 w 177354"/>
                      <a:gd name="connsiteY29" fmla="*/ 50441 h 172606"/>
                      <a:gd name="connsiteX30" fmla="*/ 31605 w 177354"/>
                      <a:gd name="connsiteY30" fmla="*/ 78026 h 172606"/>
                      <a:gd name="connsiteX31" fmla="*/ 57320 w 177354"/>
                      <a:gd name="connsiteY31" fmla="*/ 170464 h 172606"/>
                      <a:gd name="connsiteX32" fmla="*/ 68476 w 177354"/>
                      <a:gd name="connsiteY32" fmla="*/ 171312 h 1726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</a:cxnLst>
                    <a:rect l="l" t="t" r="r" b="b"/>
                    <a:pathLst>
                      <a:path w="177354" h="172606">
                        <a:moveTo>
                          <a:pt x="68476" y="171312"/>
                        </a:moveTo>
                        <a:lnTo>
                          <a:pt x="70570" y="171658"/>
                        </a:lnTo>
                        <a:cubicBezTo>
                          <a:pt x="94294" y="175390"/>
                          <a:pt x="118312" y="167515"/>
                          <a:pt x="142830" y="158384"/>
                        </a:cubicBezTo>
                        <a:cubicBezTo>
                          <a:pt x="155960" y="153486"/>
                          <a:pt x="169228" y="147770"/>
                          <a:pt x="174627" y="136548"/>
                        </a:cubicBezTo>
                        <a:cubicBezTo>
                          <a:pt x="179249" y="126937"/>
                          <a:pt x="177172" y="114954"/>
                          <a:pt x="174444" y="102492"/>
                        </a:cubicBezTo>
                        <a:cubicBezTo>
                          <a:pt x="170797" y="85923"/>
                          <a:pt x="166020" y="74048"/>
                          <a:pt x="159950" y="66163"/>
                        </a:cubicBezTo>
                        <a:cubicBezTo>
                          <a:pt x="155395" y="64177"/>
                          <a:pt x="147994" y="67490"/>
                          <a:pt x="142430" y="71940"/>
                        </a:cubicBezTo>
                        <a:cubicBezTo>
                          <a:pt x="133608" y="79020"/>
                          <a:pt x="123400" y="87133"/>
                          <a:pt x="111715" y="83475"/>
                        </a:cubicBezTo>
                        <a:lnTo>
                          <a:pt x="107163" y="82052"/>
                        </a:lnTo>
                        <a:lnTo>
                          <a:pt x="108111" y="77370"/>
                        </a:lnTo>
                        <a:cubicBezTo>
                          <a:pt x="108340" y="76261"/>
                          <a:pt x="106184" y="74208"/>
                          <a:pt x="104289" y="72401"/>
                        </a:cubicBezTo>
                        <a:cubicBezTo>
                          <a:pt x="101403" y="69640"/>
                          <a:pt x="98142" y="66523"/>
                          <a:pt x="96980" y="61926"/>
                        </a:cubicBezTo>
                        <a:cubicBezTo>
                          <a:pt x="96329" y="59356"/>
                          <a:pt x="96530" y="57017"/>
                          <a:pt x="96699" y="54948"/>
                        </a:cubicBezTo>
                        <a:cubicBezTo>
                          <a:pt x="96803" y="53789"/>
                          <a:pt x="96887" y="52693"/>
                          <a:pt x="96792" y="51854"/>
                        </a:cubicBezTo>
                        <a:cubicBezTo>
                          <a:pt x="96315" y="47999"/>
                          <a:pt x="92082" y="46005"/>
                          <a:pt x="85193" y="43088"/>
                        </a:cubicBezTo>
                        <a:cubicBezTo>
                          <a:pt x="80979" y="41300"/>
                          <a:pt x="76622" y="39438"/>
                          <a:pt x="72959" y="36540"/>
                        </a:cubicBezTo>
                        <a:cubicBezTo>
                          <a:pt x="67217" y="31979"/>
                          <a:pt x="64398" y="25723"/>
                          <a:pt x="61673" y="19672"/>
                        </a:cubicBezTo>
                        <a:cubicBezTo>
                          <a:pt x="60190" y="16364"/>
                          <a:pt x="58779" y="13241"/>
                          <a:pt x="56971" y="10564"/>
                        </a:cubicBezTo>
                        <a:cubicBezTo>
                          <a:pt x="52965" y="4669"/>
                          <a:pt x="45714" y="740"/>
                          <a:pt x="37581" y="77"/>
                        </a:cubicBezTo>
                        <a:cubicBezTo>
                          <a:pt x="29488" y="-493"/>
                          <a:pt x="21679" y="2110"/>
                          <a:pt x="16762" y="7277"/>
                        </a:cubicBezTo>
                        <a:cubicBezTo>
                          <a:pt x="16210" y="7860"/>
                          <a:pt x="15745" y="8558"/>
                          <a:pt x="15234" y="9191"/>
                        </a:cubicBezTo>
                        <a:lnTo>
                          <a:pt x="14333" y="12292"/>
                        </a:lnTo>
                        <a:cubicBezTo>
                          <a:pt x="13916" y="12169"/>
                          <a:pt x="13574" y="11950"/>
                          <a:pt x="13182" y="11799"/>
                        </a:cubicBezTo>
                        <a:cubicBezTo>
                          <a:pt x="12148" y="13296"/>
                          <a:pt x="11151" y="14872"/>
                          <a:pt x="10127" y="16502"/>
                        </a:cubicBezTo>
                        <a:cubicBezTo>
                          <a:pt x="6907" y="21641"/>
                          <a:pt x="3530" y="26837"/>
                          <a:pt x="0" y="31965"/>
                        </a:cubicBezTo>
                        <a:lnTo>
                          <a:pt x="2625" y="35900"/>
                        </a:lnTo>
                        <a:cubicBezTo>
                          <a:pt x="2511" y="35973"/>
                          <a:pt x="2202" y="36183"/>
                          <a:pt x="2089" y="37010"/>
                        </a:cubicBezTo>
                        <a:cubicBezTo>
                          <a:pt x="1884" y="38502"/>
                          <a:pt x="2531" y="40515"/>
                          <a:pt x="3630" y="41799"/>
                        </a:cubicBezTo>
                        <a:cubicBezTo>
                          <a:pt x="5218" y="43649"/>
                          <a:pt x="7534" y="45141"/>
                          <a:pt x="9992" y="46725"/>
                        </a:cubicBezTo>
                        <a:cubicBezTo>
                          <a:pt x="11820" y="47900"/>
                          <a:pt x="13645" y="49087"/>
                          <a:pt x="15325" y="50441"/>
                        </a:cubicBezTo>
                        <a:cubicBezTo>
                          <a:pt x="23962" y="57399"/>
                          <a:pt x="28106" y="67886"/>
                          <a:pt x="31605" y="78026"/>
                        </a:cubicBezTo>
                        <a:cubicBezTo>
                          <a:pt x="42038" y="108205"/>
                          <a:pt x="50639" y="139275"/>
                          <a:pt x="57320" y="170464"/>
                        </a:cubicBezTo>
                        <a:cubicBezTo>
                          <a:pt x="61236" y="170101"/>
                          <a:pt x="65026" y="170720"/>
                          <a:pt x="68476" y="171312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0" name="Forma libre 219">
                    <a:extLst>
                      <a:ext uri="{FF2B5EF4-FFF2-40B4-BE49-F238E27FC236}">
                        <a16:creationId xmlns:a16="http://schemas.microsoft.com/office/drawing/2014/main" id="{AB31AB19-4420-2D44-9DCD-61292582E884}"/>
                      </a:ext>
                    </a:extLst>
                  </p:cNvPr>
                  <p:cNvSpPr/>
                  <p:nvPr/>
                </p:nvSpPr>
                <p:spPr>
                  <a:xfrm>
                    <a:off x="5859548" y="3079320"/>
                    <a:ext cx="377755" cy="244294"/>
                  </a:xfrm>
                  <a:custGeom>
                    <a:avLst/>
                    <a:gdLst>
                      <a:gd name="connsiteX0" fmla="*/ 248421 w 377755"/>
                      <a:gd name="connsiteY0" fmla="*/ 208691 h 244294"/>
                      <a:gd name="connsiteX1" fmla="*/ 253606 w 377755"/>
                      <a:gd name="connsiteY1" fmla="*/ 201016 h 244294"/>
                      <a:gd name="connsiteX2" fmla="*/ 267807 w 377755"/>
                      <a:gd name="connsiteY2" fmla="*/ 191507 h 244294"/>
                      <a:gd name="connsiteX3" fmla="*/ 270794 w 377755"/>
                      <a:gd name="connsiteY3" fmla="*/ 189944 h 244294"/>
                      <a:gd name="connsiteX4" fmla="*/ 321035 w 377755"/>
                      <a:gd name="connsiteY4" fmla="*/ 120073 h 244294"/>
                      <a:gd name="connsiteX5" fmla="*/ 322079 w 377755"/>
                      <a:gd name="connsiteY5" fmla="*/ 112969 h 244294"/>
                      <a:gd name="connsiteX6" fmla="*/ 332214 w 377755"/>
                      <a:gd name="connsiteY6" fmla="*/ 82692 h 244294"/>
                      <a:gd name="connsiteX7" fmla="*/ 355799 w 377755"/>
                      <a:gd name="connsiteY7" fmla="*/ 67786 h 244294"/>
                      <a:gd name="connsiteX8" fmla="*/ 370533 w 377755"/>
                      <a:gd name="connsiteY8" fmla="*/ 60395 h 244294"/>
                      <a:gd name="connsiteX9" fmla="*/ 377279 w 377755"/>
                      <a:gd name="connsiteY9" fmla="*/ 41231 h 244294"/>
                      <a:gd name="connsiteX10" fmla="*/ 372551 w 377755"/>
                      <a:gd name="connsiteY10" fmla="*/ 37056 h 244294"/>
                      <a:gd name="connsiteX11" fmla="*/ 372632 w 377755"/>
                      <a:gd name="connsiteY11" fmla="*/ 35720 h 244294"/>
                      <a:gd name="connsiteX12" fmla="*/ 356109 w 377755"/>
                      <a:gd name="connsiteY12" fmla="*/ 31531 h 244294"/>
                      <a:gd name="connsiteX13" fmla="*/ 337979 w 377755"/>
                      <a:gd name="connsiteY13" fmla="*/ 16670 h 244294"/>
                      <a:gd name="connsiteX14" fmla="*/ 337707 w 377755"/>
                      <a:gd name="connsiteY14" fmla="*/ 14776 h 244294"/>
                      <a:gd name="connsiteX15" fmla="*/ 336850 w 377755"/>
                      <a:gd name="connsiteY15" fmla="*/ 13886 h 244294"/>
                      <a:gd name="connsiteX16" fmla="*/ 320763 w 377755"/>
                      <a:gd name="connsiteY16" fmla="*/ 10790 h 244294"/>
                      <a:gd name="connsiteX17" fmla="*/ 310925 w 377755"/>
                      <a:gd name="connsiteY17" fmla="*/ 13119 h 244294"/>
                      <a:gd name="connsiteX18" fmla="*/ 287601 w 377755"/>
                      <a:gd name="connsiteY18" fmla="*/ 15836 h 244294"/>
                      <a:gd name="connsiteX19" fmla="*/ 268394 w 377755"/>
                      <a:gd name="connsiteY19" fmla="*/ 7241 h 244294"/>
                      <a:gd name="connsiteX20" fmla="*/ 261371 w 377755"/>
                      <a:gd name="connsiteY20" fmla="*/ 3114 h 244294"/>
                      <a:gd name="connsiteX21" fmla="*/ 241974 w 377755"/>
                      <a:gd name="connsiteY21" fmla="*/ 2836 h 244294"/>
                      <a:gd name="connsiteX22" fmla="*/ 239855 w 377755"/>
                      <a:gd name="connsiteY22" fmla="*/ 5727 h 244294"/>
                      <a:gd name="connsiteX23" fmla="*/ 232875 w 377755"/>
                      <a:gd name="connsiteY23" fmla="*/ 12897 h 244294"/>
                      <a:gd name="connsiteX24" fmla="*/ 221293 w 377755"/>
                      <a:gd name="connsiteY24" fmla="*/ 14316 h 244294"/>
                      <a:gd name="connsiteX25" fmla="*/ 216560 w 377755"/>
                      <a:gd name="connsiteY25" fmla="*/ 14209 h 244294"/>
                      <a:gd name="connsiteX26" fmla="*/ 206657 w 377755"/>
                      <a:gd name="connsiteY26" fmla="*/ 30065 h 244294"/>
                      <a:gd name="connsiteX27" fmla="*/ 190809 w 377755"/>
                      <a:gd name="connsiteY27" fmla="*/ 53839 h 244294"/>
                      <a:gd name="connsiteX28" fmla="*/ 180482 w 377755"/>
                      <a:gd name="connsiteY28" fmla="*/ 55583 h 244294"/>
                      <a:gd name="connsiteX29" fmla="*/ 139646 w 377755"/>
                      <a:gd name="connsiteY29" fmla="*/ 57398 h 244294"/>
                      <a:gd name="connsiteX30" fmla="*/ 137381 w 377755"/>
                      <a:gd name="connsiteY30" fmla="*/ 71741 h 244294"/>
                      <a:gd name="connsiteX31" fmla="*/ 114862 w 377755"/>
                      <a:gd name="connsiteY31" fmla="*/ 90961 h 244294"/>
                      <a:gd name="connsiteX32" fmla="*/ 104008 w 377755"/>
                      <a:gd name="connsiteY32" fmla="*/ 92367 h 244294"/>
                      <a:gd name="connsiteX33" fmla="*/ 68735 w 377755"/>
                      <a:gd name="connsiteY33" fmla="*/ 82982 h 244294"/>
                      <a:gd name="connsiteX34" fmla="*/ 64406 w 377755"/>
                      <a:gd name="connsiteY34" fmla="*/ 80997 h 244294"/>
                      <a:gd name="connsiteX35" fmla="*/ 29138 w 377755"/>
                      <a:gd name="connsiteY35" fmla="*/ 70257 h 244294"/>
                      <a:gd name="connsiteX36" fmla="*/ 29138 w 377755"/>
                      <a:gd name="connsiteY36" fmla="*/ 69957 h 244294"/>
                      <a:gd name="connsiteX37" fmla="*/ 3427 w 377755"/>
                      <a:gd name="connsiteY37" fmla="*/ 80946 h 244294"/>
                      <a:gd name="connsiteX38" fmla="*/ 4313 w 377755"/>
                      <a:gd name="connsiteY38" fmla="*/ 92751 h 244294"/>
                      <a:gd name="connsiteX39" fmla="*/ 18833 w 377755"/>
                      <a:gd name="connsiteY39" fmla="*/ 105094 h 244294"/>
                      <a:gd name="connsiteX40" fmla="*/ 25338 w 377755"/>
                      <a:gd name="connsiteY40" fmla="*/ 109174 h 244294"/>
                      <a:gd name="connsiteX41" fmla="*/ 19204 w 377755"/>
                      <a:gd name="connsiteY41" fmla="*/ 113802 h 244294"/>
                      <a:gd name="connsiteX42" fmla="*/ 417 w 377755"/>
                      <a:gd name="connsiteY42" fmla="*/ 160304 h 244294"/>
                      <a:gd name="connsiteX43" fmla="*/ 16820 w 377755"/>
                      <a:gd name="connsiteY43" fmla="*/ 166961 h 244294"/>
                      <a:gd name="connsiteX44" fmla="*/ 30266 w 377755"/>
                      <a:gd name="connsiteY44" fmla="*/ 186968 h 244294"/>
                      <a:gd name="connsiteX45" fmla="*/ 45614 w 377755"/>
                      <a:gd name="connsiteY45" fmla="*/ 218597 h 244294"/>
                      <a:gd name="connsiteX46" fmla="*/ 49697 w 377755"/>
                      <a:gd name="connsiteY46" fmla="*/ 225248 h 244294"/>
                      <a:gd name="connsiteX47" fmla="*/ 65366 w 377755"/>
                      <a:gd name="connsiteY47" fmla="*/ 229723 h 244294"/>
                      <a:gd name="connsiteX48" fmla="*/ 75018 w 377755"/>
                      <a:gd name="connsiteY48" fmla="*/ 230912 h 244294"/>
                      <a:gd name="connsiteX49" fmla="*/ 92845 w 377755"/>
                      <a:gd name="connsiteY49" fmla="*/ 237956 h 244294"/>
                      <a:gd name="connsiteX50" fmla="*/ 106266 w 377755"/>
                      <a:gd name="connsiteY50" fmla="*/ 243680 h 244294"/>
                      <a:gd name="connsiteX51" fmla="*/ 122167 w 377755"/>
                      <a:gd name="connsiteY51" fmla="*/ 241100 h 244294"/>
                      <a:gd name="connsiteX52" fmla="*/ 125444 w 377755"/>
                      <a:gd name="connsiteY52" fmla="*/ 235365 h 244294"/>
                      <a:gd name="connsiteX53" fmla="*/ 125511 w 377755"/>
                      <a:gd name="connsiteY53" fmla="*/ 232602 h 244294"/>
                      <a:gd name="connsiteX54" fmla="*/ 127814 w 377755"/>
                      <a:gd name="connsiteY54" fmla="*/ 231085 h 244294"/>
                      <a:gd name="connsiteX55" fmla="*/ 248421 w 377755"/>
                      <a:gd name="connsiteY55" fmla="*/ 208691 h 2442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</a:cxnLst>
                    <a:rect l="l" t="t" r="r" b="b"/>
                    <a:pathLst>
                      <a:path w="377755" h="244294">
                        <a:moveTo>
                          <a:pt x="248421" y="208691"/>
                        </a:moveTo>
                        <a:cubicBezTo>
                          <a:pt x="249763" y="205936"/>
                          <a:pt x="251382" y="203317"/>
                          <a:pt x="253606" y="201016"/>
                        </a:cubicBezTo>
                        <a:cubicBezTo>
                          <a:pt x="257792" y="196681"/>
                          <a:pt x="262881" y="194047"/>
                          <a:pt x="267807" y="191507"/>
                        </a:cubicBezTo>
                        <a:lnTo>
                          <a:pt x="270794" y="189944"/>
                        </a:lnTo>
                        <a:cubicBezTo>
                          <a:pt x="296838" y="175980"/>
                          <a:pt x="316082" y="149205"/>
                          <a:pt x="321035" y="120073"/>
                        </a:cubicBezTo>
                        <a:cubicBezTo>
                          <a:pt x="321431" y="117732"/>
                          <a:pt x="321756" y="115350"/>
                          <a:pt x="322079" y="112969"/>
                        </a:cubicBezTo>
                        <a:cubicBezTo>
                          <a:pt x="323529" y="102397"/>
                          <a:pt x="325030" y="91474"/>
                          <a:pt x="332214" y="82692"/>
                        </a:cubicBezTo>
                        <a:cubicBezTo>
                          <a:pt x="338507" y="75023"/>
                          <a:pt x="347302" y="71345"/>
                          <a:pt x="355799" y="67786"/>
                        </a:cubicBezTo>
                        <a:cubicBezTo>
                          <a:pt x="361171" y="65544"/>
                          <a:pt x="366234" y="63415"/>
                          <a:pt x="370533" y="60395"/>
                        </a:cubicBezTo>
                        <a:cubicBezTo>
                          <a:pt x="376346" y="56297"/>
                          <a:pt x="378893" y="46897"/>
                          <a:pt x="377279" y="41231"/>
                        </a:cubicBezTo>
                        <a:cubicBezTo>
                          <a:pt x="376280" y="37721"/>
                          <a:pt x="374228" y="37157"/>
                          <a:pt x="372551" y="37056"/>
                        </a:cubicBezTo>
                        <a:lnTo>
                          <a:pt x="372632" y="35720"/>
                        </a:lnTo>
                        <a:cubicBezTo>
                          <a:pt x="367119" y="34589"/>
                          <a:pt x="361588" y="33248"/>
                          <a:pt x="356109" y="31531"/>
                        </a:cubicBezTo>
                        <a:cubicBezTo>
                          <a:pt x="352314" y="30350"/>
                          <a:pt x="340754" y="26723"/>
                          <a:pt x="337979" y="16670"/>
                        </a:cubicBezTo>
                        <a:cubicBezTo>
                          <a:pt x="337803" y="16033"/>
                          <a:pt x="337803" y="15408"/>
                          <a:pt x="337707" y="14776"/>
                        </a:cubicBezTo>
                        <a:cubicBezTo>
                          <a:pt x="337399" y="14486"/>
                          <a:pt x="337218" y="14156"/>
                          <a:pt x="336850" y="13886"/>
                        </a:cubicBezTo>
                        <a:cubicBezTo>
                          <a:pt x="333053" y="11080"/>
                          <a:pt x="326632" y="9826"/>
                          <a:pt x="320763" y="10790"/>
                        </a:cubicBezTo>
                        <a:cubicBezTo>
                          <a:pt x="317470" y="11332"/>
                          <a:pt x="314197" y="12236"/>
                          <a:pt x="310925" y="13119"/>
                        </a:cubicBezTo>
                        <a:cubicBezTo>
                          <a:pt x="303504" y="15149"/>
                          <a:pt x="295803" y="17234"/>
                          <a:pt x="287601" y="15836"/>
                        </a:cubicBezTo>
                        <a:cubicBezTo>
                          <a:pt x="280260" y="14588"/>
                          <a:pt x="274223" y="10858"/>
                          <a:pt x="268394" y="7241"/>
                        </a:cubicBezTo>
                        <a:cubicBezTo>
                          <a:pt x="266076" y="5800"/>
                          <a:pt x="263758" y="4359"/>
                          <a:pt x="261371" y="3114"/>
                        </a:cubicBezTo>
                        <a:cubicBezTo>
                          <a:pt x="255016" y="-189"/>
                          <a:pt x="246232" y="-1694"/>
                          <a:pt x="241974" y="2836"/>
                        </a:cubicBezTo>
                        <a:cubicBezTo>
                          <a:pt x="241174" y="3700"/>
                          <a:pt x="240520" y="4730"/>
                          <a:pt x="239855" y="5727"/>
                        </a:cubicBezTo>
                        <a:cubicBezTo>
                          <a:pt x="238258" y="8118"/>
                          <a:pt x="236281" y="11092"/>
                          <a:pt x="232875" y="12897"/>
                        </a:cubicBezTo>
                        <a:cubicBezTo>
                          <a:pt x="228863" y="15015"/>
                          <a:pt x="224662" y="14633"/>
                          <a:pt x="221293" y="14316"/>
                        </a:cubicBezTo>
                        <a:cubicBezTo>
                          <a:pt x="219529" y="14145"/>
                          <a:pt x="217877" y="14011"/>
                          <a:pt x="216560" y="14209"/>
                        </a:cubicBezTo>
                        <a:cubicBezTo>
                          <a:pt x="211540" y="15022"/>
                          <a:pt x="209471" y="20736"/>
                          <a:pt x="206657" y="30065"/>
                        </a:cubicBezTo>
                        <a:cubicBezTo>
                          <a:pt x="203861" y="39322"/>
                          <a:pt x="200697" y="49813"/>
                          <a:pt x="190809" y="53839"/>
                        </a:cubicBezTo>
                        <a:cubicBezTo>
                          <a:pt x="187204" y="55283"/>
                          <a:pt x="183481" y="55446"/>
                          <a:pt x="180482" y="55583"/>
                        </a:cubicBezTo>
                        <a:lnTo>
                          <a:pt x="139646" y="57398"/>
                        </a:lnTo>
                        <a:cubicBezTo>
                          <a:pt x="140276" y="62049"/>
                          <a:pt x="139521" y="66946"/>
                          <a:pt x="137381" y="71741"/>
                        </a:cubicBezTo>
                        <a:cubicBezTo>
                          <a:pt x="133209" y="81058"/>
                          <a:pt x="124575" y="88426"/>
                          <a:pt x="114862" y="90961"/>
                        </a:cubicBezTo>
                        <a:cubicBezTo>
                          <a:pt x="111250" y="91909"/>
                          <a:pt x="107621" y="92339"/>
                          <a:pt x="104008" y="92367"/>
                        </a:cubicBezTo>
                        <a:cubicBezTo>
                          <a:pt x="91643" y="92461"/>
                          <a:pt x="79451" y="87845"/>
                          <a:pt x="68735" y="82982"/>
                        </a:cubicBezTo>
                        <a:lnTo>
                          <a:pt x="64406" y="80997"/>
                        </a:lnTo>
                        <a:cubicBezTo>
                          <a:pt x="52968" y="75715"/>
                          <a:pt x="41137" y="70270"/>
                          <a:pt x="29138" y="70257"/>
                        </a:cubicBezTo>
                        <a:lnTo>
                          <a:pt x="29138" y="69957"/>
                        </a:lnTo>
                        <a:cubicBezTo>
                          <a:pt x="22309" y="76716"/>
                          <a:pt x="13055" y="80857"/>
                          <a:pt x="3427" y="80946"/>
                        </a:cubicBezTo>
                        <a:cubicBezTo>
                          <a:pt x="1475" y="84228"/>
                          <a:pt x="2203" y="89303"/>
                          <a:pt x="4313" y="92751"/>
                        </a:cubicBezTo>
                        <a:cubicBezTo>
                          <a:pt x="7511" y="97971"/>
                          <a:pt x="13528" y="101753"/>
                          <a:pt x="18833" y="105094"/>
                        </a:cubicBezTo>
                        <a:lnTo>
                          <a:pt x="25338" y="109174"/>
                        </a:lnTo>
                        <a:lnTo>
                          <a:pt x="19204" y="113802"/>
                        </a:lnTo>
                        <a:cubicBezTo>
                          <a:pt x="5277" y="124300"/>
                          <a:pt x="-1858" y="143019"/>
                          <a:pt x="417" y="160304"/>
                        </a:cubicBezTo>
                        <a:cubicBezTo>
                          <a:pt x="6586" y="160506"/>
                          <a:pt x="12570" y="163265"/>
                          <a:pt x="16820" y="166961"/>
                        </a:cubicBezTo>
                        <a:cubicBezTo>
                          <a:pt x="23306" y="172603"/>
                          <a:pt x="27004" y="180239"/>
                          <a:pt x="30266" y="186968"/>
                        </a:cubicBezTo>
                        <a:lnTo>
                          <a:pt x="45614" y="218597"/>
                        </a:lnTo>
                        <a:cubicBezTo>
                          <a:pt x="46801" y="221049"/>
                          <a:pt x="48036" y="223584"/>
                          <a:pt x="49697" y="225248"/>
                        </a:cubicBezTo>
                        <a:cubicBezTo>
                          <a:pt x="53168" y="228728"/>
                          <a:pt x="58824" y="229194"/>
                          <a:pt x="65366" y="229723"/>
                        </a:cubicBezTo>
                        <a:cubicBezTo>
                          <a:pt x="68641" y="229999"/>
                          <a:pt x="71918" y="230274"/>
                          <a:pt x="75018" y="230912"/>
                        </a:cubicBezTo>
                        <a:cubicBezTo>
                          <a:pt x="81540" y="232251"/>
                          <a:pt x="87291" y="235154"/>
                          <a:pt x="92845" y="237956"/>
                        </a:cubicBezTo>
                        <a:cubicBezTo>
                          <a:pt x="97423" y="240269"/>
                          <a:pt x="101747" y="242452"/>
                          <a:pt x="106266" y="243680"/>
                        </a:cubicBezTo>
                        <a:cubicBezTo>
                          <a:pt x="111553" y="245078"/>
                          <a:pt x="118231" y="244035"/>
                          <a:pt x="122167" y="241100"/>
                        </a:cubicBezTo>
                        <a:cubicBezTo>
                          <a:pt x="124311" y="239501"/>
                          <a:pt x="125383" y="237632"/>
                          <a:pt x="125444" y="235365"/>
                        </a:cubicBezTo>
                        <a:lnTo>
                          <a:pt x="125511" y="232602"/>
                        </a:lnTo>
                        <a:lnTo>
                          <a:pt x="127814" y="231085"/>
                        </a:lnTo>
                        <a:cubicBezTo>
                          <a:pt x="162919" y="207910"/>
                          <a:pt x="207351" y="199911"/>
                          <a:pt x="248421" y="208691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1" name="Forma libre 220">
                    <a:extLst>
                      <a:ext uri="{FF2B5EF4-FFF2-40B4-BE49-F238E27FC236}">
                        <a16:creationId xmlns:a16="http://schemas.microsoft.com/office/drawing/2014/main" id="{4FF86F7E-F5C4-1C47-AF55-5E387B7C45A2}"/>
                      </a:ext>
                    </a:extLst>
                  </p:cNvPr>
                  <p:cNvSpPr/>
                  <p:nvPr/>
                </p:nvSpPr>
                <p:spPr>
                  <a:xfrm>
                    <a:off x="6236560" y="3447080"/>
                    <a:ext cx="389377" cy="244518"/>
                  </a:xfrm>
                  <a:custGeom>
                    <a:avLst/>
                    <a:gdLst>
                      <a:gd name="connsiteX0" fmla="*/ 389378 w 389377"/>
                      <a:gd name="connsiteY0" fmla="*/ 29416 h 244518"/>
                      <a:gd name="connsiteX1" fmla="*/ 388637 w 389377"/>
                      <a:gd name="connsiteY1" fmla="*/ 30021 h 244518"/>
                      <a:gd name="connsiteX2" fmla="*/ 376318 w 389377"/>
                      <a:gd name="connsiteY2" fmla="*/ 14960 h 244518"/>
                      <a:gd name="connsiteX3" fmla="*/ 327384 w 389377"/>
                      <a:gd name="connsiteY3" fmla="*/ 13382 h 244518"/>
                      <a:gd name="connsiteX4" fmla="*/ 324215 w 389377"/>
                      <a:gd name="connsiteY4" fmla="*/ 15557 h 244518"/>
                      <a:gd name="connsiteX5" fmla="*/ 313917 w 389377"/>
                      <a:gd name="connsiteY5" fmla="*/ 21417 h 244518"/>
                      <a:gd name="connsiteX6" fmla="*/ 273825 w 389377"/>
                      <a:gd name="connsiteY6" fmla="*/ 8933 h 244518"/>
                      <a:gd name="connsiteX7" fmla="*/ 272185 w 389377"/>
                      <a:gd name="connsiteY7" fmla="*/ 7788 h 244518"/>
                      <a:gd name="connsiteX8" fmla="*/ 243607 w 389377"/>
                      <a:gd name="connsiteY8" fmla="*/ 2365 h 244518"/>
                      <a:gd name="connsiteX9" fmla="*/ 204637 w 389377"/>
                      <a:gd name="connsiteY9" fmla="*/ 55229 h 244518"/>
                      <a:gd name="connsiteX10" fmla="*/ 163456 w 389377"/>
                      <a:gd name="connsiteY10" fmla="*/ 62488 h 244518"/>
                      <a:gd name="connsiteX11" fmla="*/ 137298 w 389377"/>
                      <a:gd name="connsiteY11" fmla="*/ 61225 h 244518"/>
                      <a:gd name="connsiteX12" fmla="*/ 21774 w 389377"/>
                      <a:gd name="connsiteY12" fmla="*/ 42800 h 244518"/>
                      <a:gd name="connsiteX13" fmla="*/ 16489 w 389377"/>
                      <a:gd name="connsiteY13" fmla="*/ 41558 h 244518"/>
                      <a:gd name="connsiteX14" fmla="*/ 17867 w 389377"/>
                      <a:gd name="connsiteY14" fmla="*/ 36304 h 244518"/>
                      <a:gd name="connsiteX15" fmla="*/ 18793 w 389377"/>
                      <a:gd name="connsiteY15" fmla="*/ 20271 h 244518"/>
                      <a:gd name="connsiteX16" fmla="*/ 9784 w 389377"/>
                      <a:gd name="connsiteY16" fmla="*/ 31572 h 244518"/>
                      <a:gd name="connsiteX17" fmla="*/ 5916 w 389377"/>
                      <a:gd name="connsiteY17" fmla="*/ 35832 h 244518"/>
                      <a:gd name="connsiteX18" fmla="*/ 748 w 389377"/>
                      <a:gd name="connsiteY18" fmla="*/ 51602 h 244518"/>
                      <a:gd name="connsiteX19" fmla="*/ 8366 w 389377"/>
                      <a:gd name="connsiteY19" fmla="*/ 59055 h 244518"/>
                      <a:gd name="connsiteX20" fmla="*/ 15567 w 389377"/>
                      <a:gd name="connsiteY20" fmla="*/ 64959 h 244518"/>
                      <a:gd name="connsiteX21" fmla="*/ 17610 w 389377"/>
                      <a:gd name="connsiteY21" fmla="*/ 115365 h 244518"/>
                      <a:gd name="connsiteX22" fmla="*/ 0 w 389377"/>
                      <a:gd name="connsiteY22" fmla="*/ 164296 h 244518"/>
                      <a:gd name="connsiteX23" fmla="*/ 16019 w 389377"/>
                      <a:gd name="connsiteY23" fmla="*/ 176404 h 244518"/>
                      <a:gd name="connsiteX24" fmla="*/ 17819 w 389377"/>
                      <a:gd name="connsiteY24" fmla="*/ 177733 h 244518"/>
                      <a:gd name="connsiteX25" fmla="*/ 17433 w 389377"/>
                      <a:gd name="connsiteY25" fmla="*/ 178131 h 244518"/>
                      <a:gd name="connsiteX26" fmla="*/ 33555 w 389377"/>
                      <a:gd name="connsiteY26" fmla="*/ 218242 h 244518"/>
                      <a:gd name="connsiteX27" fmla="*/ 36688 w 389377"/>
                      <a:gd name="connsiteY27" fmla="*/ 240627 h 244518"/>
                      <a:gd name="connsiteX28" fmla="*/ 39336 w 389377"/>
                      <a:gd name="connsiteY28" fmla="*/ 240644 h 244518"/>
                      <a:gd name="connsiteX29" fmla="*/ 40436 w 389377"/>
                      <a:gd name="connsiteY29" fmla="*/ 242507 h 244518"/>
                      <a:gd name="connsiteX30" fmla="*/ 50940 w 389377"/>
                      <a:gd name="connsiteY30" fmla="*/ 243267 h 244518"/>
                      <a:gd name="connsiteX31" fmla="*/ 56229 w 389377"/>
                      <a:gd name="connsiteY31" fmla="*/ 241054 h 244518"/>
                      <a:gd name="connsiteX32" fmla="*/ 76753 w 389377"/>
                      <a:gd name="connsiteY32" fmla="*/ 237375 h 244518"/>
                      <a:gd name="connsiteX33" fmla="*/ 84332 w 389377"/>
                      <a:gd name="connsiteY33" fmla="*/ 241061 h 244518"/>
                      <a:gd name="connsiteX34" fmla="*/ 87771 w 389377"/>
                      <a:gd name="connsiteY34" fmla="*/ 243020 h 244518"/>
                      <a:gd name="connsiteX35" fmla="*/ 118464 w 389377"/>
                      <a:gd name="connsiteY35" fmla="*/ 236793 h 244518"/>
                      <a:gd name="connsiteX36" fmla="*/ 159673 w 389377"/>
                      <a:gd name="connsiteY36" fmla="*/ 233174 h 244518"/>
                      <a:gd name="connsiteX37" fmla="*/ 163786 w 389377"/>
                      <a:gd name="connsiteY37" fmla="*/ 236814 h 244518"/>
                      <a:gd name="connsiteX38" fmla="*/ 168229 w 389377"/>
                      <a:gd name="connsiteY38" fmla="*/ 240403 h 244518"/>
                      <a:gd name="connsiteX39" fmla="*/ 183806 w 389377"/>
                      <a:gd name="connsiteY39" fmla="*/ 235030 h 244518"/>
                      <a:gd name="connsiteX40" fmla="*/ 192711 w 389377"/>
                      <a:gd name="connsiteY40" fmla="*/ 229772 h 244518"/>
                      <a:gd name="connsiteX41" fmla="*/ 215237 w 389377"/>
                      <a:gd name="connsiteY41" fmla="*/ 225424 h 244518"/>
                      <a:gd name="connsiteX42" fmla="*/ 222008 w 389377"/>
                      <a:gd name="connsiteY42" fmla="*/ 224940 h 244518"/>
                      <a:gd name="connsiteX43" fmla="*/ 255695 w 389377"/>
                      <a:gd name="connsiteY43" fmla="*/ 206804 h 244518"/>
                      <a:gd name="connsiteX44" fmla="*/ 259450 w 389377"/>
                      <a:gd name="connsiteY44" fmla="*/ 198749 h 244518"/>
                      <a:gd name="connsiteX45" fmla="*/ 266867 w 389377"/>
                      <a:gd name="connsiteY45" fmla="*/ 185124 h 244518"/>
                      <a:gd name="connsiteX46" fmla="*/ 284424 w 389377"/>
                      <a:gd name="connsiteY46" fmla="*/ 177648 h 244518"/>
                      <a:gd name="connsiteX47" fmla="*/ 288021 w 389377"/>
                      <a:gd name="connsiteY47" fmla="*/ 178345 h 244518"/>
                      <a:gd name="connsiteX48" fmla="*/ 295311 w 389377"/>
                      <a:gd name="connsiteY48" fmla="*/ 169944 h 244518"/>
                      <a:gd name="connsiteX49" fmla="*/ 330724 w 389377"/>
                      <a:gd name="connsiteY49" fmla="*/ 164352 h 244518"/>
                      <a:gd name="connsiteX50" fmla="*/ 343017 w 389377"/>
                      <a:gd name="connsiteY50" fmla="*/ 167952 h 244518"/>
                      <a:gd name="connsiteX51" fmla="*/ 373133 w 389377"/>
                      <a:gd name="connsiteY51" fmla="*/ 172071 h 244518"/>
                      <a:gd name="connsiteX52" fmla="*/ 366064 w 389377"/>
                      <a:gd name="connsiteY52" fmla="*/ 161818 h 244518"/>
                      <a:gd name="connsiteX53" fmla="*/ 361718 w 389377"/>
                      <a:gd name="connsiteY53" fmla="*/ 47191 h 244518"/>
                      <a:gd name="connsiteX54" fmla="*/ 389378 w 389377"/>
                      <a:gd name="connsiteY54" fmla="*/ 29416 h 2445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</a:cxnLst>
                    <a:rect l="l" t="t" r="r" b="b"/>
                    <a:pathLst>
                      <a:path w="389377" h="244518">
                        <a:moveTo>
                          <a:pt x="389378" y="29416"/>
                        </a:moveTo>
                        <a:lnTo>
                          <a:pt x="388637" y="30021"/>
                        </a:lnTo>
                        <a:lnTo>
                          <a:pt x="376318" y="14960"/>
                        </a:lnTo>
                        <a:cubicBezTo>
                          <a:pt x="362394" y="4711"/>
                          <a:pt x="341921" y="4017"/>
                          <a:pt x="327384" y="13382"/>
                        </a:cubicBezTo>
                        <a:cubicBezTo>
                          <a:pt x="326315" y="14073"/>
                          <a:pt x="325265" y="14815"/>
                          <a:pt x="324215" y="15557"/>
                        </a:cubicBezTo>
                        <a:cubicBezTo>
                          <a:pt x="321096" y="17752"/>
                          <a:pt x="317888" y="20019"/>
                          <a:pt x="313917" y="21417"/>
                        </a:cubicBezTo>
                        <a:cubicBezTo>
                          <a:pt x="299164" y="26603"/>
                          <a:pt x="285106" y="16823"/>
                          <a:pt x="273825" y="8933"/>
                        </a:cubicBezTo>
                        <a:lnTo>
                          <a:pt x="272185" y="7788"/>
                        </a:lnTo>
                        <a:cubicBezTo>
                          <a:pt x="262848" y="1269"/>
                          <a:pt x="250375" y="-2846"/>
                          <a:pt x="243607" y="2365"/>
                        </a:cubicBezTo>
                        <a:cubicBezTo>
                          <a:pt x="244241" y="27410"/>
                          <a:pt x="224177" y="47212"/>
                          <a:pt x="204637" y="55229"/>
                        </a:cubicBezTo>
                        <a:cubicBezTo>
                          <a:pt x="191399" y="60666"/>
                          <a:pt x="177251" y="62386"/>
                          <a:pt x="163456" y="62488"/>
                        </a:cubicBezTo>
                        <a:cubicBezTo>
                          <a:pt x="154468" y="62555"/>
                          <a:pt x="145630" y="61939"/>
                          <a:pt x="137298" y="61225"/>
                        </a:cubicBezTo>
                        <a:cubicBezTo>
                          <a:pt x="98539" y="57905"/>
                          <a:pt x="59674" y="51703"/>
                          <a:pt x="21774" y="42800"/>
                        </a:cubicBezTo>
                        <a:lnTo>
                          <a:pt x="16489" y="41558"/>
                        </a:lnTo>
                        <a:lnTo>
                          <a:pt x="17867" y="36304"/>
                        </a:lnTo>
                        <a:cubicBezTo>
                          <a:pt x="19232" y="31079"/>
                          <a:pt x="19418" y="25646"/>
                          <a:pt x="18793" y="20271"/>
                        </a:cubicBezTo>
                        <a:cubicBezTo>
                          <a:pt x="16342" y="24564"/>
                          <a:pt x="13023" y="28114"/>
                          <a:pt x="9784" y="31572"/>
                        </a:cubicBezTo>
                        <a:cubicBezTo>
                          <a:pt x="8472" y="32980"/>
                          <a:pt x="7146" y="34386"/>
                          <a:pt x="5916" y="35832"/>
                        </a:cubicBezTo>
                        <a:cubicBezTo>
                          <a:pt x="4060" y="38018"/>
                          <a:pt x="-1818" y="45623"/>
                          <a:pt x="748" y="51602"/>
                        </a:cubicBezTo>
                        <a:cubicBezTo>
                          <a:pt x="1980" y="54468"/>
                          <a:pt x="4934" y="56597"/>
                          <a:pt x="8366" y="59055"/>
                        </a:cubicBezTo>
                        <a:cubicBezTo>
                          <a:pt x="10808" y="60806"/>
                          <a:pt x="13327" y="62616"/>
                          <a:pt x="15567" y="64959"/>
                        </a:cubicBezTo>
                        <a:cubicBezTo>
                          <a:pt x="28568" y="78566"/>
                          <a:pt x="23487" y="99041"/>
                          <a:pt x="17610" y="115365"/>
                        </a:cubicBezTo>
                        <a:lnTo>
                          <a:pt x="0" y="164296"/>
                        </a:lnTo>
                        <a:cubicBezTo>
                          <a:pt x="6530" y="166798"/>
                          <a:pt x="11701" y="171159"/>
                          <a:pt x="16019" y="176404"/>
                        </a:cubicBezTo>
                        <a:cubicBezTo>
                          <a:pt x="16618" y="176851"/>
                          <a:pt x="17252" y="177184"/>
                          <a:pt x="17819" y="177733"/>
                        </a:cubicBezTo>
                        <a:lnTo>
                          <a:pt x="17433" y="178131"/>
                        </a:lnTo>
                        <a:cubicBezTo>
                          <a:pt x="26136" y="189689"/>
                          <a:pt x="30709" y="205312"/>
                          <a:pt x="33555" y="218242"/>
                        </a:cubicBezTo>
                        <a:cubicBezTo>
                          <a:pt x="35229" y="225870"/>
                          <a:pt x="36623" y="233367"/>
                          <a:pt x="36688" y="240627"/>
                        </a:cubicBezTo>
                        <a:lnTo>
                          <a:pt x="39336" y="240644"/>
                        </a:lnTo>
                        <a:cubicBezTo>
                          <a:pt x="39331" y="241170"/>
                          <a:pt x="39417" y="241790"/>
                          <a:pt x="40436" y="242507"/>
                        </a:cubicBezTo>
                        <a:cubicBezTo>
                          <a:pt x="42798" y="244165"/>
                          <a:pt x="47506" y="244503"/>
                          <a:pt x="50940" y="243267"/>
                        </a:cubicBezTo>
                        <a:cubicBezTo>
                          <a:pt x="52704" y="242632"/>
                          <a:pt x="54468" y="241844"/>
                          <a:pt x="56229" y="241054"/>
                        </a:cubicBezTo>
                        <a:cubicBezTo>
                          <a:pt x="62310" y="238320"/>
                          <a:pt x="69198" y="235280"/>
                          <a:pt x="76753" y="237375"/>
                        </a:cubicBezTo>
                        <a:cubicBezTo>
                          <a:pt x="79718" y="238211"/>
                          <a:pt x="82169" y="239724"/>
                          <a:pt x="84332" y="241061"/>
                        </a:cubicBezTo>
                        <a:cubicBezTo>
                          <a:pt x="85466" y="241757"/>
                          <a:pt x="86575" y="242462"/>
                          <a:pt x="87771" y="243020"/>
                        </a:cubicBezTo>
                        <a:cubicBezTo>
                          <a:pt x="96510" y="247111"/>
                          <a:pt x="107176" y="242090"/>
                          <a:pt x="118464" y="236793"/>
                        </a:cubicBezTo>
                        <a:cubicBezTo>
                          <a:pt x="131707" y="230571"/>
                          <a:pt x="146704" y="223527"/>
                          <a:pt x="159673" y="233174"/>
                        </a:cubicBezTo>
                        <a:cubicBezTo>
                          <a:pt x="161130" y="234249"/>
                          <a:pt x="162462" y="235534"/>
                          <a:pt x="163786" y="236814"/>
                        </a:cubicBezTo>
                        <a:cubicBezTo>
                          <a:pt x="165380" y="238374"/>
                          <a:pt x="166766" y="239721"/>
                          <a:pt x="168229" y="240403"/>
                        </a:cubicBezTo>
                        <a:cubicBezTo>
                          <a:pt x="172225" y="242233"/>
                          <a:pt x="176796" y="239605"/>
                          <a:pt x="183806" y="235030"/>
                        </a:cubicBezTo>
                        <a:cubicBezTo>
                          <a:pt x="186760" y="233107"/>
                          <a:pt x="189734" y="231181"/>
                          <a:pt x="192711" y="229772"/>
                        </a:cubicBezTo>
                        <a:cubicBezTo>
                          <a:pt x="200010" y="226324"/>
                          <a:pt x="207755" y="225874"/>
                          <a:pt x="215237" y="225424"/>
                        </a:cubicBezTo>
                        <a:cubicBezTo>
                          <a:pt x="217503" y="225294"/>
                          <a:pt x="219766" y="225164"/>
                          <a:pt x="222008" y="224940"/>
                        </a:cubicBezTo>
                        <a:cubicBezTo>
                          <a:pt x="229357" y="224201"/>
                          <a:pt x="247338" y="220963"/>
                          <a:pt x="255695" y="206804"/>
                        </a:cubicBezTo>
                        <a:cubicBezTo>
                          <a:pt x="257195" y="204258"/>
                          <a:pt x="258314" y="201499"/>
                          <a:pt x="259450" y="198749"/>
                        </a:cubicBezTo>
                        <a:cubicBezTo>
                          <a:pt x="261370" y="194114"/>
                          <a:pt x="263341" y="189318"/>
                          <a:pt x="266867" y="185124"/>
                        </a:cubicBezTo>
                        <a:cubicBezTo>
                          <a:pt x="271061" y="180147"/>
                          <a:pt x="278196" y="177198"/>
                          <a:pt x="284424" y="177648"/>
                        </a:cubicBezTo>
                        <a:cubicBezTo>
                          <a:pt x="285688" y="177753"/>
                          <a:pt x="286890" y="177982"/>
                          <a:pt x="288021" y="178345"/>
                        </a:cubicBezTo>
                        <a:cubicBezTo>
                          <a:pt x="289640" y="175127"/>
                          <a:pt x="292091" y="172285"/>
                          <a:pt x="295311" y="169944"/>
                        </a:cubicBezTo>
                        <a:cubicBezTo>
                          <a:pt x="304065" y="163569"/>
                          <a:pt x="318300" y="161342"/>
                          <a:pt x="330724" y="164352"/>
                        </a:cubicBezTo>
                        <a:cubicBezTo>
                          <a:pt x="334807" y="165354"/>
                          <a:pt x="338912" y="166648"/>
                          <a:pt x="343017" y="167952"/>
                        </a:cubicBezTo>
                        <a:cubicBezTo>
                          <a:pt x="353693" y="171350"/>
                          <a:pt x="363815" y="174468"/>
                          <a:pt x="373133" y="172071"/>
                        </a:cubicBezTo>
                        <a:cubicBezTo>
                          <a:pt x="370683" y="168731"/>
                          <a:pt x="368270" y="165359"/>
                          <a:pt x="366064" y="161818"/>
                        </a:cubicBezTo>
                        <a:cubicBezTo>
                          <a:pt x="344634" y="127416"/>
                          <a:pt x="338348" y="80307"/>
                          <a:pt x="361718" y="47191"/>
                        </a:cubicBezTo>
                        <a:cubicBezTo>
                          <a:pt x="376135" y="49688"/>
                          <a:pt x="384508" y="41595"/>
                          <a:pt x="389378" y="29416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2" name="Forma libre 221">
                    <a:extLst>
                      <a:ext uri="{FF2B5EF4-FFF2-40B4-BE49-F238E27FC236}">
                        <a16:creationId xmlns:a16="http://schemas.microsoft.com/office/drawing/2014/main" id="{61AB819E-0E96-0048-9DC1-D8295D724153}"/>
                      </a:ext>
                    </a:extLst>
                  </p:cNvPr>
                  <p:cNvSpPr/>
                  <p:nvPr/>
                </p:nvSpPr>
                <p:spPr>
                  <a:xfrm>
                    <a:off x="6115266" y="3077011"/>
                    <a:ext cx="570678" cy="421984"/>
                  </a:xfrm>
                  <a:custGeom>
                    <a:avLst/>
                    <a:gdLst>
                      <a:gd name="connsiteX0" fmla="*/ 131746 w 570678"/>
                      <a:gd name="connsiteY0" fmla="*/ 40638 h 421984"/>
                      <a:gd name="connsiteX1" fmla="*/ 120910 w 570678"/>
                      <a:gd name="connsiteY1" fmla="*/ 71368 h 421984"/>
                      <a:gd name="connsiteX2" fmla="*/ 104177 w 570678"/>
                      <a:gd name="connsiteY2" fmla="*/ 79859 h 421984"/>
                      <a:gd name="connsiteX3" fmla="*/ 84686 w 570678"/>
                      <a:gd name="connsiteY3" fmla="*/ 91724 h 421984"/>
                      <a:gd name="connsiteX4" fmla="*/ 76858 w 570678"/>
                      <a:gd name="connsiteY4" fmla="*/ 116708 h 421984"/>
                      <a:gd name="connsiteX5" fmla="*/ 75755 w 570678"/>
                      <a:gd name="connsiteY5" fmla="*/ 124143 h 421984"/>
                      <a:gd name="connsiteX6" fmla="*/ 20090 w 570678"/>
                      <a:gd name="connsiteY6" fmla="*/ 201587 h 421984"/>
                      <a:gd name="connsiteX7" fmla="*/ 16946 w 570678"/>
                      <a:gd name="connsiteY7" fmla="*/ 203223 h 421984"/>
                      <a:gd name="connsiteX8" fmla="*/ 5512 w 570678"/>
                      <a:gd name="connsiteY8" fmla="*/ 210672 h 421984"/>
                      <a:gd name="connsiteX9" fmla="*/ 15177 w 570678"/>
                      <a:gd name="connsiteY9" fmla="*/ 262493 h 421984"/>
                      <a:gd name="connsiteX10" fmla="*/ 60737 w 570678"/>
                      <a:gd name="connsiteY10" fmla="*/ 328470 h 421984"/>
                      <a:gd name="connsiteX11" fmla="*/ 96193 w 570678"/>
                      <a:gd name="connsiteY11" fmla="*/ 335290 h 421984"/>
                      <a:gd name="connsiteX12" fmla="*/ 112368 w 570678"/>
                      <a:gd name="connsiteY12" fmla="*/ 339265 h 421984"/>
                      <a:gd name="connsiteX13" fmla="*/ 150509 w 570678"/>
                      <a:gd name="connsiteY13" fmla="*/ 403717 h 421984"/>
                      <a:gd name="connsiteX14" fmla="*/ 259507 w 570678"/>
                      <a:gd name="connsiteY14" fmla="*/ 420742 h 421984"/>
                      <a:gd name="connsiteX15" fmla="*/ 321911 w 570678"/>
                      <a:gd name="connsiteY15" fmla="*/ 415506 h 421984"/>
                      <a:gd name="connsiteX16" fmla="*/ 354208 w 570678"/>
                      <a:gd name="connsiteY16" fmla="*/ 370727 h 421984"/>
                      <a:gd name="connsiteX17" fmla="*/ 354024 w 570678"/>
                      <a:gd name="connsiteY17" fmla="*/ 368484 h 421984"/>
                      <a:gd name="connsiteX18" fmla="*/ 355512 w 570678"/>
                      <a:gd name="connsiteY18" fmla="*/ 366807 h 421984"/>
                      <a:gd name="connsiteX19" fmla="*/ 399539 w 570678"/>
                      <a:gd name="connsiteY19" fmla="*/ 369166 h 421984"/>
                      <a:gd name="connsiteX20" fmla="*/ 401204 w 570678"/>
                      <a:gd name="connsiteY20" fmla="*/ 370333 h 421984"/>
                      <a:gd name="connsiteX21" fmla="*/ 431684 w 570678"/>
                      <a:gd name="connsiteY21" fmla="*/ 381503 h 421984"/>
                      <a:gd name="connsiteX22" fmla="*/ 439399 w 570678"/>
                      <a:gd name="connsiteY22" fmla="*/ 376977 h 421984"/>
                      <a:gd name="connsiteX23" fmla="*/ 442937 w 570678"/>
                      <a:gd name="connsiteY23" fmla="*/ 374549 h 421984"/>
                      <a:gd name="connsiteX24" fmla="*/ 504517 w 570678"/>
                      <a:gd name="connsiteY24" fmla="*/ 376964 h 421984"/>
                      <a:gd name="connsiteX25" fmla="*/ 505412 w 570678"/>
                      <a:gd name="connsiteY25" fmla="*/ 377825 h 421984"/>
                      <a:gd name="connsiteX26" fmla="*/ 514010 w 570678"/>
                      <a:gd name="connsiteY26" fmla="*/ 388342 h 421984"/>
                      <a:gd name="connsiteX27" fmla="*/ 516934 w 570678"/>
                      <a:gd name="connsiteY27" fmla="*/ 364986 h 421984"/>
                      <a:gd name="connsiteX28" fmla="*/ 521735 w 570678"/>
                      <a:gd name="connsiteY28" fmla="*/ 275355 h 421984"/>
                      <a:gd name="connsiteX29" fmla="*/ 531763 w 570678"/>
                      <a:gd name="connsiteY29" fmla="*/ 308826 h 421984"/>
                      <a:gd name="connsiteX30" fmla="*/ 570669 w 570678"/>
                      <a:gd name="connsiteY30" fmla="*/ 261855 h 421984"/>
                      <a:gd name="connsiteX31" fmla="*/ 567614 w 570678"/>
                      <a:gd name="connsiteY31" fmla="*/ 239807 h 421984"/>
                      <a:gd name="connsiteX32" fmla="*/ 565150 w 570678"/>
                      <a:gd name="connsiteY32" fmla="*/ 244969 h 421984"/>
                      <a:gd name="connsiteX33" fmla="*/ 537922 w 570678"/>
                      <a:gd name="connsiteY33" fmla="*/ 231973 h 421984"/>
                      <a:gd name="connsiteX34" fmla="*/ 528960 w 570678"/>
                      <a:gd name="connsiteY34" fmla="*/ 228711 h 421984"/>
                      <a:gd name="connsiteX35" fmla="*/ 508353 w 570678"/>
                      <a:gd name="connsiteY35" fmla="*/ 236662 h 421984"/>
                      <a:gd name="connsiteX36" fmla="*/ 504608 w 570678"/>
                      <a:gd name="connsiteY36" fmla="*/ 239047 h 421984"/>
                      <a:gd name="connsiteX37" fmla="*/ 484283 w 570678"/>
                      <a:gd name="connsiteY37" fmla="*/ 245623 h 421984"/>
                      <a:gd name="connsiteX38" fmla="*/ 469804 w 570678"/>
                      <a:gd name="connsiteY38" fmla="*/ 240094 h 421984"/>
                      <a:gd name="connsiteX39" fmla="*/ 468365 w 570678"/>
                      <a:gd name="connsiteY39" fmla="*/ 238688 h 421984"/>
                      <a:gd name="connsiteX40" fmla="*/ 468226 w 570678"/>
                      <a:gd name="connsiteY40" fmla="*/ 236670 h 421984"/>
                      <a:gd name="connsiteX41" fmla="*/ 455624 w 570678"/>
                      <a:gd name="connsiteY41" fmla="*/ 124469 h 421984"/>
                      <a:gd name="connsiteX42" fmla="*/ 437929 w 570678"/>
                      <a:gd name="connsiteY42" fmla="*/ 87378 h 421984"/>
                      <a:gd name="connsiteX43" fmla="*/ 435542 w 570678"/>
                      <a:gd name="connsiteY43" fmla="*/ 86155 h 421984"/>
                      <a:gd name="connsiteX44" fmla="*/ 426629 w 570678"/>
                      <a:gd name="connsiteY44" fmla="*/ 79633 h 421984"/>
                      <a:gd name="connsiteX45" fmla="*/ 423052 w 570678"/>
                      <a:gd name="connsiteY45" fmla="*/ 70156 h 421984"/>
                      <a:gd name="connsiteX46" fmla="*/ 421743 w 570678"/>
                      <a:gd name="connsiteY46" fmla="*/ 65491 h 421984"/>
                      <a:gd name="connsiteX47" fmla="*/ 410591 w 570678"/>
                      <a:gd name="connsiteY47" fmla="*/ 58209 h 421984"/>
                      <a:gd name="connsiteX48" fmla="*/ 405506 w 570678"/>
                      <a:gd name="connsiteY48" fmla="*/ 56034 h 421984"/>
                      <a:gd name="connsiteX49" fmla="*/ 376200 w 570678"/>
                      <a:gd name="connsiteY49" fmla="*/ 27593 h 421984"/>
                      <a:gd name="connsiteX50" fmla="*/ 368907 w 570678"/>
                      <a:gd name="connsiteY50" fmla="*/ 17968 h 421984"/>
                      <a:gd name="connsiteX51" fmla="*/ 341684 w 570678"/>
                      <a:gd name="connsiteY51" fmla="*/ 0 h 421984"/>
                      <a:gd name="connsiteX52" fmla="*/ 336312 w 570678"/>
                      <a:gd name="connsiteY52" fmla="*/ 7776 h 421984"/>
                      <a:gd name="connsiteX53" fmla="*/ 329251 w 570678"/>
                      <a:gd name="connsiteY53" fmla="*/ 2913 h 421984"/>
                      <a:gd name="connsiteX54" fmla="*/ 328651 w 570678"/>
                      <a:gd name="connsiteY54" fmla="*/ 5290 h 421984"/>
                      <a:gd name="connsiteX55" fmla="*/ 326580 w 570678"/>
                      <a:gd name="connsiteY55" fmla="*/ 11997 h 421984"/>
                      <a:gd name="connsiteX56" fmla="*/ 302432 w 570678"/>
                      <a:gd name="connsiteY56" fmla="*/ 27383 h 421984"/>
                      <a:gd name="connsiteX57" fmla="*/ 172557 w 570678"/>
                      <a:gd name="connsiteY57" fmla="*/ 42846 h 421984"/>
                      <a:gd name="connsiteX58" fmla="*/ 131689 w 570678"/>
                      <a:gd name="connsiteY58" fmla="*/ 40502 h 421984"/>
                      <a:gd name="connsiteX59" fmla="*/ 131746 w 570678"/>
                      <a:gd name="connsiteY59" fmla="*/ 40638 h 4219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</a:cxnLst>
                    <a:rect l="l" t="t" r="r" b="b"/>
                    <a:pathLst>
                      <a:path w="570678" h="421984">
                        <a:moveTo>
                          <a:pt x="131746" y="40638"/>
                        </a:moveTo>
                        <a:cubicBezTo>
                          <a:pt x="134762" y="51240"/>
                          <a:pt x="129901" y="65021"/>
                          <a:pt x="120910" y="71368"/>
                        </a:cubicBezTo>
                        <a:cubicBezTo>
                          <a:pt x="115672" y="75047"/>
                          <a:pt x="109825" y="77502"/>
                          <a:pt x="104177" y="79859"/>
                        </a:cubicBezTo>
                        <a:cubicBezTo>
                          <a:pt x="96526" y="83061"/>
                          <a:pt x="89308" y="86083"/>
                          <a:pt x="84686" y="91724"/>
                        </a:cubicBezTo>
                        <a:cubicBezTo>
                          <a:pt x="79399" y="98175"/>
                          <a:pt x="78162" y="107184"/>
                          <a:pt x="76858" y="116708"/>
                        </a:cubicBezTo>
                        <a:cubicBezTo>
                          <a:pt x="76515" y="119215"/>
                          <a:pt x="76171" y="121698"/>
                          <a:pt x="75755" y="124143"/>
                        </a:cubicBezTo>
                        <a:cubicBezTo>
                          <a:pt x="70277" y="156445"/>
                          <a:pt x="48945" y="186114"/>
                          <a:pt x="20090" y="201587"/>
                        </a:cubicBezTo>
                        <a:lnTo>
                          <a:pt x="16946" y="203223"/>
                        </a:lnTo>
                        <a:cubicBezTo>
                          <a:pt x="12589" y="205479"/>
                          <a:pt x="8479" y="207600"/>
                          <a:pt x="5512" y="210672"/>
                        </a:cubicBezTo>
                        <a:cubicBezTo>
                          <a:pt x="-7737" y="224393"/>
                          <a:pt x="5883" y="249034"/>
                          <a:pt x="15177" y="262493"/>
                        </a:cubicBezTo>
                        <a:lnTo>
                          <a:pt x="60737" y="328470"/>
                        </a:lnTo>
                        <a:lnTo>
                          <a:pt x="96193" y="335290"/>
                        </a:lnTo>
                        <a:cubicBezTo>
                          <a:pt x="101484" y="336306"/>
                          <a:pt x="106964" y="337351"/>
                          <a:pt x="112368" y="339265"/>
                        </a:cubicBezTo>
                        <a:cubicBezTo>
                          <a:pt x="138077" y="348340"/>
                          <a:pt x="154591" y="376990"/>
                          <a:pt x="150509" y="403717"/>
                        </a:cubicBezTo>
                        <a:cubicBezTo>
                          <a:pt x="186318" y="411887"/>
                          <a:pt x="222965" y="417612"/>
                          <a:pt x="259507" y="420742"/>
                        </a:cubicBezTo>
                        <a:cubicBezTo>
                          <a:pt x="279349" y="422476"/>
                          <a:pt x="302236" y="423607"/>
                          <a:pt x="321911" y="415506"/>
                        </a:cubicBezTo>
                        <a:cubicBezTo>
                          <a:pt x="339192" y="408404"/>
                          <a:pt x="355836" y="390748"/>
                          <a:pt x="354208" y="370727"/>
                        </a:cubicBezTo>
                        <a:lnTo>
                          <a:pt x="354024" y="368484"/>
                        </a:lnTo>
                        <a:lnTo>
                          <a:pt x="355512" y="366807"/>
                        </a:lnTo>
                        <a:cubicBezTo>
                          <a:pt x="366157" y="354677"/>
                          <a:pt x="385285" y="359240"/>
                          <a:pt x="399539" y="369166"/>
                        </a:cubicBezTo>
                        <a:lnTo>
                          <a:pt x="401204" y="370333"/>
                        </a:lnTo>
                        <a:cubicBezTo>
                          <a:pt x="411456" y="377496"/>
                          <a:pt x="422030" y="384946"/>
                          <a:pt x="431684" y="381503"/>
                        </a:cubicBezTo>
                        <a:cubicBezTo>
                          <a:pt x="434284" y="380583"/>
                          <a:pt x="436763" y="378839"/>
                          <a:pt x="439399" y="376977"/>
                        </a:cubicBezTo>
                        <a:cubicBezTo>
                          <a:pt x="440571" y="376150"/>
                          <a:pt x="441745" y="375325"/>
                          <a:pt x="442937" y="374549"/>
                        </a:cubicBezTo>
                        <a:cubicBezTo>
                          <a:pt x="461291" y="362745"/>
                          <a:pt x="487176" y="363772"/>
                          <a:pt x="504517" y="376964"/>
                        </a:cubicBezTo>
                        <a:lnTo>
                          <a:pt x="505412" y="377825"/>
                        </a:lnTo>
                        <a:lnTo>
                          <a:pt x="514010" y="388342"/>
                        </a:lnTo>
                        <a:cubicBezTo>
                          <a:pt x="515654" y="380878"/>
                          <a:pt x="516517" y="372779"/>
                          <a:pt x="516934" y="364986"/>
                        </a:cubicBezTo>
                        <a:cubicBezTo>
                          <a:pt x="518535" y="335110"/>
                          <a:pt x="520134" y="305232"/>
                          <a:pt x="521735" y="275355"/>
                        </a:cubicBezTo>
                        <a:cubicBezTo>
                          <a:pt x="533506" y="281081"/>
                          <a:pt x="538445" y="297573"/>
                          <a:pt x="531763" y="308826"/>
                        </a:cubicBezTo>
                        <a:cubicBezTo>
                          <a:pt x="554216" y="308204"/>
                          <a:pt x="570288" y="284312"/>
                          <a:pt x="570669" y="261855"/>
                        </a:cubicBezTo>
                        <a:cubicBezTo>
                          <a:pt x="570796" y="254335"/>
                          <a:pt x="569584" y="246998"/>
                          <a:pt x="567614" y="239807"/>
                        </a:cubicBezTo>
                        <a:lnTo>
                          <a:pt x="565150" y="244969"/>
                        </a:lnTo>
                        <a:lnTo>
                          <a:pt x="537922" y="231973"/>
                        </a:lnTo>
                        <a:cubicBezTo>
                          <a:pt x="534965" y="230567"/>
                          <a:pt x="531903" y="229103"/>
                          <a:pt x="528960" y="228711"/>
                        </a:cubicBezTo>
                        <a:cubicBezTo>
                          <a:pt x="522127" y="227758"/>
                          <a:pt x="515467" y="232090"/>
                          <a:pt x="508353" y="236662"/>
                        </a:cubicBezTo>
                        <a:lnTo>
                          <a:pt x="504608" y="239047"/>
                        </a:lnTo>
                        <a:cubicBezTo>
                          <a:pt x="498576" y="242766"/>
                          <a:pt x="491231" y="245571"/>
                          <a:pt x="484283" y="245623"/>
                        </a:cubicBezTo>
                        <a:cubicBezTo>
                          <a:pt x="478966" y="245663"/>
                          <a:pt x="473897" y="244097"/>
                          <a:pt x="469804" y="240094"/>
                        </a:cubicBezTo>
                        <a:lnTo>
                          <a:pt x="468365" y="238688"/>
                        </a:lnTo>
                        <a:lnTo>
                          <a:pt x="468226" y="236670"/>
                        </a:lnTo>
                        <a:cubicBezTo>
                          <a:pt x="465671" y="199371"/>
                          <a:pt x="461437" y="161621"/>
                          <a:pt x="455624" y="124469"/>
                        </a:cubicBezTo>
                        <a:cubicBezTo>
                          <a:pt x="453191" y="108983"/>
                          <a:pt x="449375" y="93767"/>
                          <a:pt x="437929" y="87378"/>
                        </a:cubicBezTo>
                        <a:cubicBezTo>
                          <a:pt x="437151" y="86950"/>
                          <a:pt x="436351" y="86553"/>
                          <a:pt x="435542" y="86155"/>
                        </a:cubicBezTo>
                        <a:cubicBezTo>
                          <a:pt x="432531" y="84668"/>
                          <a:pt x="429116" y="82987"/>
                          <a:pt x="426629" y="79633"/>
                        </a:cubicBezTo>
                        <a:cubicBezTo>
                          <a:pt x="424341" y="76559"/>
                          <a:pt x="423654" y="73150"/>
                          <a:pt x="423052" y="70156"/>
                        </a:cubicBezTo>
                        <a:cubicBezTo>
                          <a:pt x="422698" y="68390"/>
                          <a:pt x="422353" y="66717"/>
                          <a:pt x="421743" y="65491"/>
                        </a:cubicBezTo>
                        <a:cubicBezTo>
                          <a:pt x="420044" y="62027"/>
                          <a:pt x="415447" y="60169"/>
                          <a:pt x="410591" y="58209"/>
                        </a:cubicBezTo>
                        <a:cubicBezTo>
                          <a:pt x="408858" y="57510"/>
                          <a:pt x="407135" y="56808"/>
                          <a:pt x="405506" y="56034"/>
                        </a:cubicBezTo>
                        <a:cubicBezTo>
                          <a:pt x="392595" y="49948"/>
                          <a:pt x="384265" y="38580"/>
                          <a:pt x="376200" y="27593"/>
                        </a:cubicBezTo>
                        <a:cubicBezTo>
                          <a:pt x="373806" y="24324"/>
                          <a:pt x="371413" y="21062"/>
                          <a:pt x="368907" y="17968"/>
                        </a:cubicBezTo>
                        <a:cubicBezTo>
                          <a:pt x="362151" y="9621"/>
                          <a:pt x="351935" y="1329"/>
                          <a:pt x="341684" y="0"/>
                        </a:cubicBezTo>
                        <a:lnTo>
                          <a:pt x="336312" y="7776"/>
                        </a:lnTo>
                        <a:lnTo>
                          <a:pt x="329251" y="2913"/>
                        </a:lnTo>
                        <a:cubicBezTo>
                          <a:pt x="329045" y="3666"/>
                          <a:pt x="328849" y="4433"/>
                          <a:pt x="328651" y="5290"/>
                        </a:cubicBezTo>
                        <a:cubicBezTo>
                          <a:pt x="328179" y="7362"/>
                          <a:pt x="327639" y="9703"/>
                          <a:pt x="326580" y="11997"/>
                        </a:cubicBezTo>
                        <a:cubicBezTo>
                          <a:pt x="322223" y="21461"/>
                          <a:pt x="311928" y="25086"/>
                          <a:pt x="302432" y="27383"/>
                        </a:cubicBezTo>
                        <a:cubicBezTo>
                          <a:pt x="259967" y="37671"/>
                          <a:pt x="216587" y="42899"/>
                          <a:pt x="172557" y="42846"/>
                        </a:cubicBezTo>
                        <a:cubicBezTo>
                          <a:pt x="160612" y="42838"/>
                          <a:pt x="146472" y="42429"/>
                          <a:pt x="131689" y="40502"/>
                        </a:cubicBezTo>
                        <a:cubicBezTo>
                          <a:pt x="131701" y="40553"/>
                          <a:pt x="131731" y="40587"/>
                          <a:pt x="131746" y="40638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3" name="Forma libre 222">
                    <a:extLst>
                      <a:ext uri="{FF2B5EF4-FFF2-40B4-BE49-F238E27FC236}">
                        <a16:creationId xmlns:a16="http://schemas.microsoft.com/office/drawing/2014/main" id="{2915DB6F-3F67-8C44-9850-9FC47F3D69BC}"/>
                      </a:ext>
                    </a:extLst>
                  </p:cNvPr>
                  <p:cNvSpPr/>
                  <p:nvPr/>
                </p:nvSpPr>
                <p:spPr>
                  <a:xfrm>
                    <a:off x="6038642" y="3607639"/>
                    <a:ext cx="104552" cy="241271"/>
                  </a:xfrm>
                  <a:custGeom>
                    <a:avLst/>
                    <a:gdLst>
                      <a:gd name="connsiteX0" fmla="*/ 56290 w 104552"/>
                      <a:gd name="connsiteY0" fmla="*/ 215676 h 241271"/>
                      <a:gd name="connsiteX1" fmla="*/ 87738 w 104552"/>
                      <a:gd name="connsiteY1" fmla="*/ 202771 h 241271"/>
                      <a:gd name="connsiteX2" fmla="*/ 101191 w 104552"/>
                      <a:gd name="connsiteY2" fmla="*/ 163726 h 241271"/>
                      <a:gd name="connsiteX3" fmla="*/ 104553 w 104552"/>
                      <a:gd name="connsiteY3" fmla="*/ 159503 h 241271"/>
                      <a:gd name="connsiteX4" fmla="*/ 99873 w 104552"/>
                      <a:gd name="connsiteY4" fmla="*/ 156186 h 241271"/>
                      <a:gd name="connsiteX5" fmla="*/ 89475 w 104552"/>
                      <a:gd name="connsiteY5" fmla="*/ 146440 h 241271"/>
                      <a:gd name="connsiteX6" fmla="*/ 90281 w 104552"/>
                      <a:gd name="connsiteY6" fmla="*/ 136606 h 241271"/>
                      <a:gd name="connsiteX7" fmla="*/ 94066 w 104552"/>
                      <a:gd name="connsiteY7" fmla="*/ 131985 h 241271"/>
                      <a:gd name="connsiteX8" fmla="*/ 68285 w 104552"/>
                      <a:gd name="connsiteY8" fmla="*/ 38957 h 241271"/>
                      <a:gd name="connsiteX9" fmla="*/ 55360 w 104552"/>
                      <a:gd name="connsiteY9" fmla="*/ 16144 h 241271"/>
                      <a:gd name="connsiteX10" fmla="*/ 50945 w 104552"/>
                      <a:gd name="connsiteY10" fmla="*/ 13085 h 241271"/>
                      <a:gd name="connsiteX11" fmla="*/ 42274 w 104552"/>
                      <a:gd name="connsiteY11" fmla="*/ 6147 h 241271"/>
                      <a:gd name="connsiteX12" fmla="*/ 38922 w 104552"/>
                      <a:gd name="connsiteY12" fmla="*/ 0 h 241271"/>
                      <a:gd name="connsiteX13" fmla="*/ 14250 w 104552"/>
                      <a:gd name="connsiteY13" fmla="*/ 18055 h 241271"/>
                      <a:gd name="connsiteX14" fmla="*/ 9632 w 104552"/>
                      <a:gd name="connsiteY14" fmla="*/ 49233 h 241271"/>
                      <a:gd name="connsiteX15" fmla="*/ 8200 w 104552"/>
                      <a:gd name="connsiteY15" fmla="*/ 48415 h 241271"/>
                      <a:gd name="connsiteX16" fmla="*/ 639 w 104552"/>
                      <a:gd name="connsiteY16" fmla="*/ 205268 h 241271"/>
                      <a:gd name="connsiteX17" fmla="*/ 5425 w 104552"/>
                      <a:gd name="connsiteY17" fmla="*/ 216406 h 241271"/>
                      <a:gd name="connsiteX18" fmla="*/ 17282 w 104552"/>
                      <a:gd name="connsiteY18" fmla="*/ 218048 h 241271"/>
                      <a:gd name="connsiteX19" fmla="*/ 48250 w 104552"/>
                      <a:gd name="connsiteY19" fmla="*/ 241271 h 241271"/>
                      <a:gd name="connsiteX20" fmla="*/ 56290 w 104552"/>
                      <a:gd name="connsiteY20" fmla="*/ 215676 h 2412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104552" h="241271">
                        <a:moveTo>
                          <a:pt x="56290" y="215676"/>
                        </a:moveTo>
                        <a:cubicBezTo>
                          <a:pt x="63888" y="206444"/>
                          <a:pt x="75960" y="201709"/>
                          <a:pt x="87738" y="202771"/>
                        </a:cubicBezTo>
                        <a:cubicBezTo>
                          <a:pt x="86392" y="188641"/>
                          <a:pt x="91287" y="173988"/>
                          <a:pt x="101191" y="163726"/>
                        </a:cubicBezTo>
                        <a:cubicBezTo>
                          <a:pt x="102772" y="162101"/>
                          <a:pt x="104548" y="160278"/>
                          <a:pt x="104553" y="159503"/>
                        </a:cubicBezTo>
                        <a:cubicBezTo>
                          <a:pt x="104556" y="158697"/>
                          <a:pt x="101618" y="157126"/>
                          <a:pt x="99873" y="156186"/>
                        </a:cubicBezTo>
                        <a:cubicBezTo>
                          <a:pt x="96073" y="154147"/>
                          <a:pt x="91336" y="151618"/>
                          <a:pt x="89475" y="146440"/>
                        </a:cubicBezTo>
                        <a:cubicBezTo>
                          <a:pt x="88336" y="143271"/>
                          <a:pt x="88630" y="139784"/>
                          <a:pt x="90281" y="136606"/>
                        </a:cubicBezTo>
                        <a:cubicBezTo>
                          <a:pt x="91191" y="134865"/>
                          <a:pt x="92522" y="133309"/>
                          <a:pt x="94066" y="131985"/>
                        </a:cubicBezTo>
                        <a:cubicBezTo>
                          <a:pt x="87418" y="100598"/>
                          <a:pt x="78773" y="69317"/>
                          <a:pt x="68285" y="38957"/>
                        </a:cubicBezTo>
                        <a:cubicBezTo>
                          <a:pt x="65156" y="29900"/>
                          <a:pt x="61817" y="21350"/>
                          <a:pt x="55360" y="16144"/>
                        </a:cubicBezTo>
                        <a:cubicBezTo>
                          <a:pt x="53965" y="15027"/>
                          <a:pt x="52449" y="14055"/>
                          <a:pt x="50945" y="13085"/>
                        </a:cubicBezTo>
                        <a:cubicBezTo>
                          <a:pt x="48093" y="11256"/>
                          <a:pt x="44865" y="9181"/>
                          <a:pt x="42274" y="6147"/>
                        </a:cubicBezTo>
                        <a:cubicBezTo>
                          <a:pt x="40751" y="4370"/>
                          <a:pt x="39614" y="2242"/>
                          <a:pt x="38922" y="0"/>
                        </a:cubicBezTo>
                        <a:cubicBezTo>
                          <a:pt x="30980" y="9733"/>
                          <a:pt x="22705" y="15797"/>
                          <a:pt x="14250" y="18055"/>
                        </a:cubicBezTo>
                        <a:cubicBezTo>
                          <a:pt x="16594" y="28556"/>
                          <a:pt x="14992" y="39821"/>
                          <a:pt x="9632" y="49233"/>
                        </a:cubicBezTo>
                        <a:lnTo>
                          <a:pt x="8200" y="48415"/>
                        </a:lnTo>
                        <a:cubicBezTo>
                          <a:pt x="23940" y="98383"/>
                          <a:pt x="-4542" y="152755"/>
                          <a:pt x="639" y="205268"/>
                        </a:cubicBezTo>
                        <a:cubicBezTo>
                          <a:pt x="1050" y="209428"/>
                          <a:pt x="1968" y="214060"/>
                          <a:pt x="5425" y="216406"/>
                        </a:cubicBezTo>
                        <a:cubicBezTo>
                          <a:pt x="8783" y="218683"/>
                          <a:pt x="13226" y="217947"/>
                          <a:pt x="17282" y="218048"/>
                        </a:cubicBezTo>
                        <a:cubicBezTo>
                          <a:pt x="31342" y="218401"/>
                          <a:pt x="40851" y="228581"/>
                          <a:pt x="48250" y="241271"/>
                        </a:cubicBezTo>
                        <a:cubicBezTo>
                          <a:pt x="47641" y="232163"/>
                          <a:pt x="50381" y="222849"/>
                          <a:pt x="56290" y="215676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4" name="Forma libre 223">
                    <a:extLst>
                      <a:ext uri="{FF2B5EF4-FFF2-40B4-BE49-F238E27FC236}">
                        <a16:creationId xmlns:a16="http://schemas.microsoft.com/office/drawing/2014/main" id="{A180C222-BB59-014E-92AE-4450BBA77F2A}"/>
                      </a:ext>
                    </a:extLst>
                  </p:cNvPr>
                  <p:cNvSpPr/>
                  <p:nvPr/>
                </p:nvSpPr>
                <p:spPr>
                  <a:xfrm>
                    <a:off x="6515511" y="3620687"/>
                    <a:ext cx="175228" cy="147015"/>
                  </a:xfrm>
                  <a:custGeom>
                    <a:avLst/>
                    <a:gdLst>
                      <a:gd name="connsiteX0" fmla="*/ 97210 w 175228"/>
                      <a:gd name="connsiteY0" fmla="*/ 2492 h 147015"/>
                      <a:gd name="connsiteX1" fmla="*/ 99074 w 175228"/>
                      <a:gd name="connsiteY1" fmla="*/ 8131 h 147015"/>
                      <a:gd name="connsiteX2" fmla="*/ 60871 w 175228"/>
                      <a:gd name="connsiteY2" fmla="*/ 4446 h 147015"/>
                      <a:gd name="connsiteX3" fmla="*/ 49272 w 175228"/>
                      <a:gd name="connsiteY3" fmla="*/ 1037 h 147015"/>
                      <a:gd name="connsiteX4" fmla="*/ 22605 w 175228"/>
                      <a:gd name="connsiteY4" fmla="*/ 4900 h 147015"/>
                      <a:gd name="connsiteX5" fmla="*/ 17365 w 175228"/>
                      <a:gd name="connsiteY5" fmla="*/ 13814 h 147015"/>
                      <a:gd name="connsiteX6" fmla="*/ 16757 w 175228"/>
                      <a:gd name="connsiteY6" fmla="*/ 22253 h 147015"/>
                      <a:gd name="connsiteX7" fmla="*/ 18193 w 175228"/>
                      <a:gd name="connsiteY7" fmla="*/ 24925 h 147015"/>
                      <a:gd name="connsiteX8" fmla="*/ 23470 w 175228"/>
                      <a:gd name="connsiteY8" fmla="*/ 39045 h 147015"/>
                      <a:gd name="connsiteX9" fmla="*/ 18253 w 175228"/>
                      <a:gd name="connsiteY9" fmla="*/ 56305 h 147015"/>
                      <a:gd name="connsiteX10" fmla="*/ 3214 w 175228"/>
                      <a:gd name="connsiteY10" fmla="*/ 83869 h 147015"/>
                      <a:gd name="connsiteX11" fmla="*/ 24 w 175228"/>
                      <a:gd name="connsiteY11" fmla="*/ 93027 h 147015"/>
                      <a:gd name="connsiteX12" fmla="*/ 10882 w 175228"/>
                      <a:gd name="connsiteY12" fmla="*/ 103917 h 147015"/>
                      <a:gd name="connsiteX13" fmla="*/ 16307 w 175228"/>
                      <a:gd name="connsiteY13" fmla="*/ 107465 h 147015"/>
                      <a:gd name="connsiteX14" fmla="*/ 32425 w 175228"/>
                      <a:gd name="connsiteY14" fmla="*/ 131237 h 147015"/>
                      <a:gd name="connsiteX15" fmla="*/ 32864 w 175228"/>
                      <a:gd name="connsiteY15" fmla="*/ 133034 h 147015"/>
                      <a:gd name="connsiteX16" fmla="*/ 37865 w 175228"/>
                      <a:gd name="connsiteY16" fmla="*/ 143659 h 147015"/>
                      <a:gd name="connsiteX17" fmla="*/ 37560 w 175228"/>
                      <a:gd name="connsiteY17" fmla="*/ 147016 h 147015"/>
                      <a:gd name="connsiteX18" fmla="*/ 47095 w 175228"/>
                      <a:gd name="connsiteY18" fmla="*/ 132958 h 147015"/>
                      <a:gd name="connsiteX19" fmla="*/ 175228 w 175228"/>
                      <a:gd name="connsiteY19" fmla="*/ 70816 h 147015"/>
                      <a:gd name="connsiteX20" fmla="*/ 97210 w 175228"/>
                      <a:gd name="connsiteY20" fmla="*/ 2492 h 1470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175228" h="147015">
                        <a:moveTo>
                          <a:pt x="97210" y="2492"/>
                        </a:moveTo>
                        <a:lnTo>
                          <a:pt x="99074" y="8131"/>
                        </a:lnTo>
                        <a:cubicBezTo>
                          <a:pt x="86074" y="12427"/>
                          <a:pt x="73272" y="8377"/>
                          <a:pt x="60871" y="4446"/>
                        </a:cubicBezTo>
                        <a:cubicBezTo>
                          <a:pt x="56994" y="3214"/>
                          <a:pt x="53128" y="1982"/>
                          <a:pt x="49272" y="1037"/>
                        </a:cubicBezTo>
                        <a:cubicBezTo>
                          <a:pt x="39830" y="-1239"/>
                          <a:pt x="28869" y="312"/>
                          <a:pt x="22605" y="4900"/>
                        </a:cubicBezTo>
                        <a:cubicBezTo>
                          <a:pt x="19342" y="7272"/>
                          <a:pt x="17627" y="10192"/>
                          <a:pt x="17365" y="13814"/>
                        </a:cubicBezTo>
                        <a:lnTo>
                          <a:pt x="16757" y="22253"/>
                        </a:lnTo>
                        <a:cubicBezTo>
                          <a:pt x="17199" y="23100"/>
                          <a:pt x="17652" y="23954"/>
                          <a:pt x="18193" y="24925"/>
                        </a:cubicBezTo>
                        <a:cubicBezTo>
                          <a:pt x="20489" y="29046"/>
                          <a:pt x="23090" y="33712"/>
                          <a:pt x="23470" y="39045"/>
                        </a:cubicBezTo>
                        <a:cubicBezTo>
                          <a:pt x="23945" y="45847"/>
                          <a:pt x="20661" y="51890"/>
                          <a:pt x="18253" y="56305"/>
                        </a:cubicBezTo>
                        <a:lnTo>
                          <a:pt x="3214" y="83869"/>
                        </a:lnTo>
                        <a:cubicBezTo>
                          <a:pt x="1325" y="87316"/>
                          <a:pt x="-213" y="90389"/>
                          <a:pt x="24" y="93027"/>
                        </a:cubicBezTo>
                        <a:cubicBezTo>
                          <a:pt x="395" y="97078"/>
                          <a:pt x="4565" y="99974"/>
                          <a:pt x="10882" y="103917"/>
                        </a:cubicBezTo>
                        <a:cubicBezTo>
                          <a:pt x="12753" y="105083"/>
                          <a:pt x="14614" y="106248"/>
                          <a:pt x="16307" y="107465"/>
                        </a:cubicBezTo>
                        <a:cubicBezTo>
                          <a:pt x="24212" y="113126"/>
                          <a:pt x="30089" y="121791"/>
                          <a:pt x="32425" y="131237"/>
                        </a:cubicBezTo>
                        <a:lnTo>
                          <a:pt x="32864" y="133034"/>
                        </a:lnTo>
                        <a:cubicBezTo>
                          <a:pt x="33911" y="137433"/>
                          <a:pt x="35349" y="143440"/>
                          <a:pt x="37865" y="143659"/>
                        </a:cubicBezTo>
                        <a:lnTo>
                          <a:pt x="37560" y="147016"/>
                        </a:lnTo>
                        <a:cubicBezTo>
                          <a:pt x="41314" y="142860"/>
                          <a:pt x="44588" y="137645"/>
                          <a:pt x="47095" y="132958"/>
                        </a:cubicBezTo>
                        <a:cubicBezTo>
                          <a:pt x="71034" y="88221"/>
                          <a:pt x="125277" y="61914"/>
                          <a:pt x="175228" y="70816"/>
                        </a:cubicBezTo>
                        <a:cubicBezTo>
                          <a:pt x="147072" y="50580"/>
                          <a:pt x="118356" y="29643"/>
                          <a:pt x="97210" y="2492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5" name="Forma libre 224">
                    <a:extLst>
                      <a:ext uri="{FF2B5EF4-FFF2-40B4-BE49-F238E27FC236}">
                        <a16:creationId xmlns:a16="http://schemas.microsoft.com/office/drawing/2014/main" id="{9CAE4356-E6C5-274C-A2E4-FFEC4F63A638}"/>
                      </a:ext>
                    </a:extLst>
                  </p:cNvPr>
                  <p:cNvSpPr/>
                  <p:nvPr/>
                </p:nvSpPr>
                <p:spPr>
                  <a:xfrm>
                    <a:off x="6094119" y="3635331"/>
                    <a:ext cx="452837" cy="476504"/>
                  </a:xfrm>
                  <a:custGeom>
                    <a:avLst/>
                    <a:gdLst>
                      <a:gd name="connsiteX0" fmla="*/ 443952 w 452837"/>
                      <a:gd name="connsiteY0" fmla="*/ 120856 h 476504"/>
                      <a:gd name="connsiteX1" fmla="*/ 443536 w 452837"/>
                      <a:gd name="connsiteY1" fmla="*/ 119132 h 476504"/>
                      <a:gd name="connsiteX2" fmla="*/ 431540 w 452837"/>
                      <a:gd name="connsiteY2" fmla="*/ 101433 h 476504"/>
                      <a:gd name="connsiteX3" fmla="*/ 426665 w 452837"/>
                      <a:gd name="connsiteY3" fmla="*/ 98251 h 476504"/>
                      <a:gd name="connsiteX4" fmla="*/ 410875 w 452837"/>
                      <a:gd name="connsiteY4" fmla="*/ 79349 h 476504"/>
                      <a:gd name="connsiteX5" fmla="*/ 415311 w 452837"/>
                      <a:gd name="connsiteY5" fmla="*/ 64140 h 476504"/>
                      <a:gd name="connsiteX6" fmla="*/ 430350 w 452837"/>
                      <a:gd name="connsiteY6" fmla="*/ 36588 h 476504"/>
                      <a:gd name="connsiteX7" fmla="*/ 434300 w 452837"/>
                      <a:gd name="connsiteY7" fmla="*/ 25151 h 476504"/>
                      <a:gd name="connsiteX8" fmla="*/ 430338 w 452837"/>
                      <a:gd name="connsiteY8" fmla="*/ 15436 h 476504"/>
                      <a:gd name="connsiteX9" fmla="*/ 425406 w 452837"/>
                      <a:gd name="connsiteY9" fmla="*/ 0 h 476504"/>
                      <a:gd name="connsiteX10" fmla="*/ 417435 w 452837"/>
                      <a:gd name="connsiteY10" fmla="*/ 3680 h 476504"/>
                      <a:gd name="connsiteX11" fmla="*/ 411694 w 452837"/>
                      <a:gd name="connsiteY11" fmla="*/ 14540 h 476504"/>
                      <a:gd name="connsiteX12" fmla="*/ 407265 w 452837"/>
                      <a:gd name="connsiteY12" fmla="*/ 23934 h 476504"/>
                      <a:gd name="connsiteX13" fmla="*/ 365509 w 452837"/>
                      <a:gd name="connsiteY13" fmla="*/ 47230 h 476504"/>
                      <a:gd name="connsiteX14" fmla="*/ 358304 w 452837"/>
                      <a:gd name="connsiteY14" fmla="*/ 47749 h 476504"/>
                      <a:gd name="connsiteX15" fmla="*/ 339690 w 452837"/>
                      <a:gd name="connsiteY15" fmla="*/ 51094 h 476504"/>
                      <a:gd name="connsiteX16" fmla="*/ 332039 w 452837"/>
                      <a:gd name="connsiteY16" fmla="*/ 55650 h 476504"/>
                      <a:gd name="connsiteX17" fmla="*/ 306248 w 452837"/>
                      <a:gd name="connsiteY17" fmla="*/ 61771 h 476504"/>
                      <a:gd name="connsiteX18" fmla="*/ 298831 w 452837"/>
                      <a:gd name="connsiteY18" fmla="*/ 56148 h 476504"/>
                      <a:gd name="connsiteX19" fmla="*/ 295801 w 452837"/>
                      <a:gd name="connsiteY19" fmla="*/ 53420 h 476504"/>
                      <a:gd name="connsiteX20" fmla="*/ 265407 w 452837"/>
                      <a:gd name="connsiteY20" fmla="*/ 58125 h 476504"/>
                      <a:gd name="connsiteX21" fmla="*/ 237410 w 452837"/>
                      <a:gd name="connsiteY21" fmla="*/ 66847 h 476504"/>
                      <a:gd name="connsiteX22" fmla="*/ 225737 w 452837"/>
                      <a:gd name="connsiteY22" fmla="*/ 64360 h 476504"/>
                      <a:gd name="connsiteX23" fmla="*/ 221218 w 452837"/>
                      <a:gd name="connsiteY23" fmla="*/ 61829 h 476504"/>
                      <a:gd name="connsiteX24" fmla="*/ 216327 w 452837"/>
                      <a:gd name="connsiteY24" fmla="*/ 59322 h 476504"/>
                      <a:gd name="connsiteX25" fmla="*/ 202997 w 452837"/>
                      <a:gd name="connsiteY25" fmla="*/ 62461 h 476504"/>
                      <a:gd name="connsiteX26" fmla="*/ 196996 w 452837"/>
                      <a:gd name="connsiteY26" fmla="*/ 64978 h 476504"/>
                      <a:gd name="connsiteX27" fmla="*/ 177922 w 452837"/>
                      <a:gd name="connsiteY27" fmla="*/ 63493 h 476504"/>
                      <a:gd name="connsiteX28" fmla="*/ 175383 w 452837"/>
                      <a:gd name="connsiteY28" fmla="*/ 70901 h 476504"/>
                      <a:gd name="connsiteX29" fmla="*/ 137732 w 452837"/>
                      <a:gd name="connsiteY29" fmla="*/ 98074 h 476504"/>
                      <a:gd name="connsiteX30" fmla="*/ 60118 w 452837"/>
                      <a:gd name="connsiteY30" fmla="*/ 111885 h 476504"/>
                      <a:gd name="connsiteX31" fmla="*/ 57901 w 452837"/>
                      <a:gd name="connsiteY31" fmla="*/ 111518 h 476504"/>
                      <a:gd name="connsiteX32" fmla="*/ 47680 w 452837"/>
                      <a:gd name="connsiteY32" fmla="*/ 111077 h 476504"/>
                      <a:gd name="connsiteX33" fmla="*/ 44204 w 452837"/>
                      <a:gd name="connsiteY33" fmla="*/ 113802 h 476504"/>
                      <a:gd name="connsiteX34" fmla="*/ 43965 w 452837"/>
                      <a:gd name="connsiteY34" fmla="*/ 115158 h 476504"/>
                      <a:gd name="connsiteX35" fmla="*/ 49396 w 452837"/>
                      <a:gd name="connsiteY35" fmla="*/ 119151 h 476504"/>
                      <a:gd name="connsiteX36" fmla="*/ 59666 w 452837"/>
                      <a:gd name="connsiteY36" fmla="*/ 131827 h 476504"/>
                      <a:gd name="connsiteX37" fmla="*/ 53812 w 452837"/>
                      <a:gd name="connsiteY37" fmla="*/ 142886 h 476504"/>
                      <a:gd name="connsiteX38" fmla="*/ 43989 w 452837"/>
                      <a:gd name="connsiteY38" fmla="*/ 180453 h 476504"/>
                      <a:gd name="connsiteX39" fmla="*/ 46742 w 452837"/>
                      <a:gd name="connsiteY39" fmla="*/ 190268 h 476504"/>
                      <a:gd name="connsiteX40" fmla="*/ 37127 w 452837"/>
                      <a:gd name="connsiteY40" fmla="*/ 186886 h 476504"/>
                      <a:gd name="connsiteX41" fmla="*/ 8981 w 452837"/>
                      <a:gd name="connsiteY41" fmla="*/ 194719 h 476504"/>
                      <a:gd name="connsiteX42" fmla="*/ 6662 w 452837"/>
                      <a:gd name="connsiteY42" fmla="*/ 223841 h 476504"/>
                      <a:gd name="connsiteX43" fmla="*/ 0 w 452837"/>
                      <a:gd name="connsiteY43" fmla="*/ 227753 h 476504"/>
                      <a:gd name="connsiteX44" fmla="*/ 5272 w 452837"/>
                      <a:gd name="connsiteY44" fmla="*/ 239682 h 476504"/>
                      <a:gd name="connsiteX45" fmla="*/ 58072 w 452837"/>
                      <a:gd name="connsiteY45" fmla="*/ 267241 h 476504"/>
                      <a:gd name="connsiteX46" fmla="*/ 34094 w 452837"/>
                      <a:gd name="connsiteY46" fmla="*/ 292182 h 476504"/>
                      <a:gd name="connsiteX47" fmla="*/ 129141 w 452837"/>
                      <a:gd name="connsiteY47" fmla="*/ 298870 h 476504"/>
                      <a:gd name="connsiteX48" fmla="*/ 196914 w 452837"/>
                      <a:gd name="connsiteY48" fmla="*/ 352060 h 476504"/>
                      <a:gd name="connsiteX49" fmla="*/ 69208 w 452837"/>
                      <a:gd name="connsiteY49" fmla="*/ 347106 h 476504"/>
                      <a:gd name="connsiteX50" fmla="*/ 102258 w 452837"/>
                      <a:gd name="connsiteY50" fmla="*/ 423752 h 476504"/>
                      <a:gd name="connsiteX51" fmla="*/ 102100 w 452837"/>
                      <a:gd name="connsiteY51" fmla="*/ 457239 h 476504"/>
                      <a:gd name="connsiteX52" fmla="*/ 125871 w 452837"/>
                      <a:gd name="connsiteY52" fmla="*/ 476191 h 476504"/>
                      <a:gd name="connsiteX53" fmla="*/ 133297 w 452837"/>
                      <a:gd name="connsiteY53" fmla="*/ 428528 h 476504"/>
                      <a:gd name="connsiteX54" fmla="*/ 161536 w 452837"/>
                      <a:gd name="connsiteY54" fmla="*/ 475594 h 476504"/>
                      <a:gd name="connsiteX55" fmla="*/ 175206 w 452837"/>
                      <a:gd name="connsiteY55" fmla="*/ 454414 h 476504"/>
                      <a:gd name="connsiteX56" fmla="*/ 220720 w 452837"/>
                      <a:gd name="connsiteY56" fmla="*/ 474894 h 476504"/>
                      <a:gd name="connsiteX57" fmla="*/ 167593 w 452837"/>
                      <a:gd name="connsiteY57" fmla="*/ 377733 h 476504"/>
                      <a:gd name="connsiteX58" fmla="*/ 231721 w 452837"/>
                      <a:gd name="connsiteY58" fmla="*/ 406096 h 476504"/>
                      <a:gd name="connsiteX59" fmla="*/ 229074 w 452837"/>
                      <a:gd name="connsiteY59" fmla="*/ 373881 h 476504"/>
                      <a:gd name="connsiteX60" fmla="*/ 266150 w 452837"/>
                      <a:gd name="connsiteY60" fmla="*/ 370845 h 476504"/>
                      <a:gd name="connsiteX61" fmla="*/ 242796 w 452837"/>
                      <a:gd name="connsiteY61" fmla="*/ 312037 h 476504"/>
                      <a:gd name="connsiteX62" fmla="*/ 175842 w 452837"/>
                      <a:gd name="connsiteY62" fmla="*/ 281847 h 476504"/>
                      <a:gd name="connsiteX63" fmla="*/ 166506 w 452837"/>
                      <a:gd name="connsiteY63" fmla="*/ 220720 h 476504"/>
                      <a:gd name="connsiteX64" fmla="*/ 190003 w 452837"/>
                      <a:gd name="connsiteY64" fmla="*/ 229000 h 476504"/>
                      <a:gd name="connsiteX65" fmla="*/ 193379 w 452837"/>
                      <a:gd name="connsiteY65" fmla="*/ 206848 h 476504"/>
                      <a:gd name="connsiteX66" fmla="*/ 171861 w 452837"/>
                      <a:gd name="connsiteY66" fmla="*/ 191498 h 476504"/>
                      <a:gd name="connsiteX67" fmla="*/ 172512 w 452837"/>
                      <a:gd name="connsiteY67" fmla="*/ 121351 h 476504"/>
                      <a:gd name="connsiteX68" fmla="*/ 193348 w 452837"/>
                      <a:gd name="connsiteY68" fmla="*/ 155657 h 476504"/>
                      <a:gd name="connsiteX69" fmla="*/ 221009 w 452837"/>
                      <a:gd name="connsiteY69" fmla="*/ 179645 h 476504"/>
                      <a:gd name="connsiteX70" fmla="*/ 214523 w 452837"/>
                      <a:gd name="connsiteY70" fmla="*/ 156303 h 476504"/>
                      <a:gd name="connsiteX71" fmla="*/ 248253 w 452837"/>
                      <a:gd name="connsiteY71" fmla="*/ 179281 h 476504"/>
                      <a:gd name="connsiteX72" fmla="*/ 238340 w 452837"/>
                      <a:gd name="connsiteY72" fmla="*/ 155512 h 476504"/>
                      <a:gd name="connsiteX73" fmla="*/ 283959 w 452837"/>
                      <a:gd name="connsiteY73" fmla="*/ 166999 h 476504"/>
                      <a:gd name="connsiteX74" fmla="*/ 245272 w 452837"/>
                      <a:gd name="connsiteY74" fmla="*/ 118001 h 476504"/>
                      <a:gd name="connsiteX75" fmla="*/ 352668 w 452837"/>
                      <a:gd name="connsiteY75" fmla="*/ 90224 h 476504"/>
                      <a:gd name="connsiteX76" fmla="*/ 430664 w 452837"/>
                      <a:gd name="connsiteY76" fmla="*/ 125515 h 476504"/>
                      <a:gd name="connsiteX77" fmla="*/ 440790 w 452837"/>
                      <a:gd name="connsiteY77" fmla="*/ 138538 h 476504"/>
                      <a:gd name="connsiteX78" fmla="*/ 452837 w 452837"/>
                      <a:gd name="connsiteY78" fmla="*/ 137681 h 476504"/>
                      <a:gd name="connsiteX79" fmla="*/ 443952 w 452837"/>
                      <a:gd name="connsiteY79" fmla="*/ 120856 h 4765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</a:cxnLst>
                    <a:rect l="l" t="t" r="r" b="b"/>
                    <a:pathLst>
                      <a:path w="452837" h="476504">
                        <a:moveTo>
                          <a:pt x="443952" y="120856"/>
                        </a:moveTo>
                        <a:lnTo>
                          <a:pt x="443536" y="119132"/>
                        </a:lnTo>
                        <a:cubicBezTo>
                          <a:pt x="441795" y="112100"/>
                          <a:pt x="437425" y="105648"/>
                          <a:pt x="431540" y="101433"/>
                        </a:cubicBezTo>
                        <a:cubicBezTo>
                          <a:pt x="430012" y="100336"/>
                          <a:pt x="428348" y="99304"/>
                          <a:pt x="426665" y="98251"/>
                        </a:cubicBezTo>
                        <a:cubicBezTo>
                          <a:pt x="420024" y="94101"/>
                          <a:pt x="411752" y="88942"/>
                          <a:pt x="410875" y="79349"/>
                        </a:cubicBezTo>
                        <a:cubicBezTo>
                          <a:pt x="410311" y="73282"/>
                          <a:pt x="413200" y="67995"/>
                          <a:pt x="415311" y="64140"/>
                        </a:cubicBezTo>
                        <a:lnTo>
                          <a:pt x="430350" y="36588"/>
                        </a:lnTo>
                        <a:cubicBezTo>
                          <a:pt x="432727" y="32206"/>
                          <a:pt x="434540" y="28585"/>
                          <a:pt x="434300" y="25151"/>
                        </a:cubicBezTo>
                        <a:cubicBezTo>
                          <a:pt x="434090" y="22163"/>
                          <a:pt x="432267" y="18898"/>
                          <a:pt x="430338" y="15436"/>
                        </a:cubicBezTo>
                        <a:cubicBezTo>
                          <a:pt x="427891" y="11049"/>
                          <a:pt x="425023" y="5790"/>
                          <a:pt x="425406" y="0"/>
                        </a:cubicBezTo>
                        <a:cubicBezTo>
                          <a:pt x="422656" y="30"/>
                          <a:pt x="419279" y="1487"/>
                          <a:pt x="417435" y="3680"/>
                        </a:cubicBezTo>
                        <a:cubicBezTo>
                          <a:pt x="414954" y="6626"/>
                          <a:pt x="413369" y="10473"/>
                          <a:pt x="411694" y="14540"/>
                        </a:cubicBezTo>
                        <a:cubicBezTo>
                          <a:pt x="410404" y="17643"/>
                          <a:pt x="409083" y="20849"/>
                          <a:pt x="407265" y="23934"/>
                        </a:cubicBezTo>
                        <a:cubicBezTo>
                          <a:pt x="399645" y="36837"/>
                          <a:pt x="384432" y="45331"/>
                          <a:pt x="365509" y="47230"/>
                        </a:cubicBezTo>
                        <a:cubicBezTo>
                          <a:pt x="363131" y="47465"/>
                          <a:pt x="360713" y="47607"/>
                          <a:pt x="358304" y="47749"/>
                        </a:cubicBezTo>
                        <a:cubicBezTo>
                          <a:pt x="351534" y="48151"/>
                          <a:pt x="345123" y="48530"/>
                          <a:pt x="339690" y="51094"/>
                        </a:cubicBezTo>
                        <a:cubicBezTo>
                          <a:pt x="337124" y="52302"/>
                          <a:pt x="334582" y="53987"/>
                          <a:pt x="332039" y="55650"/>
                        </a:cubicBezTo>
                        <a:cubicBezTo>
                          <a:pt x="324845" y="60339"/>
                          <a:pt x="315869" y="66157"/>
                          <a:pt x="306248" y="61771"/>
                        </a:cubicBezTo>
                        <a:cubicBezTo>
                          <a:pt x="303124" y="60326"/>
                          <a:pt x="300842" y="58107"/>
                          <a:pt x="298831" y="56148"/>
                        </a:cubicBezTo>
                        <a:cubicBezTo>
                          <a:pt x="297852" y="55194"/>
                          <a:pt x="296882" y="54229"/>
                          <a:pt x="295801" y="53420"/>
                        </a:cubicBezTo>
                        <a:cubicBezTo>
                          <a:pt x="288446" y="47962"/>
                          <a:pt x="279414" y="51557"/>
                          <a:pt x="265407" y="58125"/>
                        </a:cubicBezTo>
                        <a:cubicBezTo>
                          <a:pt x="256615" y="62258"/>
                          <a:pt x="246987" y="66775"/>
                          <a:pt x="237410" y="66847"/>
                        </a:cubicBezTo>
                        <a:cubicBezTo>
                          <a:pt x="233492" y="66879"/>
                          <a:pt x="229577" y="66162"/>
                          <a:pt x="225737" y="64360"/>
                        </a:cubicBezTo>
                        <a:cubicBezTo>
                          <a:pt x="224181" y="63636"/>
                          <a:pt x="222694" y="62738"/>
                          <a:pt x="221218" y="61829"/>
                        </a:cubicBezTo>
                        <a:cubicBezTo>
                          <a:pt x="219492" y="60756"/>
                          <a:pt x="217862" y="59754"/>
                          <a:pt x="216327" y="59322"/>
                        </a:cubicBezTo>
                        <a:cubicBezTo>
                          <a:pt x="212483" y="58191"/>
                          <a:pt x="207875" y="60294"/>
                          <a:pt x="202997" y="62461"/>
                        </a:cubicBezTo>
                        <a:cubicBezTo>
                          <a:pt x="200997" y="63366"/>
                          <a:pt x="198988" y="64251"/>
                          <a:pt x="196996" y="64978"/>
                        </a:cubicBezTo>
                        <a:cubicBezTo>
                          <a:pt x="190703" y="67258"/>
                          <a:pt x="183128" y="66556"/>
                          <a:pt x="177922" y="63493"/>
                        </a:cubicBezTo>
                        <a:cubicBezTo>
                          <a:pt x="177322" y="66000"/>
                          <a:pt x="176546" y="68480"/>
                          <a:pt x="175383" y="70901"/>
                        </a:cubicBezTo>
                        <a:cubicBezTo>
                          <a:pt x="168265" y="85684"/>
                          <a:pt x="152223" y="92682"/>
                          <a:pt x="137732" y="98074"/>
                        </a:cubicBezTo>
                        <a:cubicBezTo>
                          <a:pt x="111845" y="107722"/>
                          <a:pt x="86409" y="116012"/>
                          <a:pt x="60118" y="111885"/>
                        </a:cubicBezTo>
                        <a:lnTo>
                          <a:pt x="57901" y="111518"/>
                        </a:lnTo>
                        <a:cubicBezTo>
                          <a:pt x="54142" y="110864"/>
                          <a:pt x="50589" y="110280"/>
                          <a:pt x="47680" y="111077"/>
                        </a:cubicBezTo>
                        <a:cubicBezTo>
                          <a:pt x="46267" y="111459"/>
                          <a:pt x="44834" y="112578"/>
                          <a:pt x="44204" y="113802"/>
                        </a:cubicBezTo>
                        <a:cubicBezTo>
                          <a:pt x="43919" y="114343"/>
                          <a:pt x="43840" y="114797"/>
                          <a:pt x="43965" y="115158"/>
                        </a:cubicBezTo>
                        <a:cubicBezTo>
                          <a:pt x="44452" y="116499"/>
                          <a:pt x="47080" y="117906"/>
                          <a:pt x="49396" y="119151"/>
                        </a:cubicBezTo>
                        <a:cubicBezTo>
                          <a:pt x="53736" y="121477"/>
                          <a:pt x="59686" y="124661"/>
                          <a:pt x="59666" y="131827"/>
                        </a:cubicBezTo>
                        <a:cubicBezTo>
                          <a:pt x="59653" y="136906"/>
                          <a:pt x="56275" y="140365"/>
                          <a:pt x="53812" y="142886"/>
                        </a:cubicBezTo>
                        <a:cubicBezTo>
                          <a:pt x="44041" y="153014"/>
                          <a:pt x="40365" y="167563"/>
                          <a:pt x="43989" y="180453"/>
                        </a:cubicBezTo>
                        <a:lnTo>
                          <a:pt x="46742" y="190268"/>
                        </a:lnTo>
                        <a:lnTo>
                          <a:pt x="37127" y="186886"/>
                        </a:lnTo>
                        <a:cubicBezTo>
                          <a:pt x="27421" y="183442"/>
                          <a:pt x="15561" y="186747"/>
                          <a:pt x="8981" y="194719"/>
                        </a:cubicBezTo>
                        <a:cubicBezTo>
                          <a:pt x="2417" y="202680"/>
                          <a:pt x="1438" y="214936"/>
                          <a:pt x="6662" y="223841"/>
                        </a:cubicBezTo>
                        <a:lnTo>
                          <a:pt x="0" y="227753"/>
                        </a:lnTo>
                        <a:cubicBezTo>
                          <a:pt x="1847" y="231801"/>
                          <a:pt x="3587" y="235841"/>
                          <a:pt x="5272" y="239682"/>
                        </a:cubicBezTo>
                        <a:cubicBezTo>
                          <a:pt x="14626" y="260995"/>
                          <a:pt x="40756" y="282789"/>
                          <a:pt x="58072" y="267241"/>
                        </a:cubicBezTo>
                        <a:cubicBezTo>
                          <a:pt x="56105" y="279348"/>
                          <a:pt x="46115" y="289741"/>
                          <a:pt x="34094" y="292182"/>
                        </a:cubicBezTo>
                        <a:cubicBezTo>
                          <a:pt x="63283" y="305394"/>
                          <a:pt x="97133" y="297458"/>
                          <a:pt x="129141" y="298870"/>
                        </a:cubicBezTo>
                        <a:cubicBezTo>
                          <a:pt x="161150" y="300280"/>
                          <a:pt x="198783" y="320073"/>
                          <a:pt x="196914" y="352060"/>
                        </a:cubicBezTo>
                        <a:cubicBezTo>
                          <a:pt x="155845" y="338893"/>
                          <a:pt x="111174" y="337160"/>
                          <a:pt x="69208" y="347106"/>
                        </a:cubicBezTo>
                        <a:cubicBezTo>
                          <a:pt x="90895" y="366011"/>
                          <a:pt x="103397" y="395006"/>
                          <a:pt x="102258" y="423752"/>
                        </a:cubicBezTo>
                        <a:cubicBezTo>
                          <a:pt x="101813" y="434954"/>
                          <a:pt x="99440" y="446349"/>
                          <a:pt x="102100" y="457239"/>
                        </a:cubicBezTo>
                        <a:cubicBezTo>
                          <a:pt x="104761" y="468130"/>
                          <a:pt x="114890" y="478450"/>
                          <a:pt x="125871" y="476191"/>
                        </a:cubicBezTo>
                        <a:cubicBezTo>
                          <a:pt x="144094" y="472441"/>
                          <a:pt x="140978" y="445472"/>
                          <a:pt x="133297" y="428528"/>
                        </a:cubicBezTo>
                        <a:cubicBezTo>
                          <a:pt x="150426" y="437354"/>
                          <a:pt x="161808" y="456327"/>
                          <a:pt x="161536" y="475594"/>
                        </a:cubicBezTo>
                        <a:cubicBezTo>
                          <a:pt x="166092" y="468533"/>
                          <a:pt x="170647" y="461476"/>
                          <a:pt x="175206" y="454414"/>
                        </a:cubicBezTo>
                        <a:cubicBezTo>
                          <a:pt x="187571" y="465994"/>
                          <a:pt x="203851" y="473321"/>
                          <a:pt x="220720" y="474894"/>
                        </a:cubicBezTo>
                        <a:cubicBezTo>
                          <a:pt x="198132" y="445513"/>
                          <a:pt x="180138" y="412608"/>
                          <a:pt x="167593" y="377733"/>
                        </a:cubicBezTo>
                        <a:cubicBezTo>
                          <a:pt x="190920" y="381526"/>
                          <a:pt x="213180" y="391447"/>
                          <a:pt x="231721" y="406096"/>
                        </a:cubicBezTo>
                        <a:cubicBezTo>
                          <a:pt x="223760" y="397670"/>
                          <a:pt x="222043" y="383341"/>
                          <a:pt x="229074" y="373881"/>
                        </a:cubicBezTo>
                        <a:cubicBezTo>
                          <a:pt x="237443" y="362624"/>
                          <a:pt x="256061" y="361099"/>
                          <a:pt x="266150" y="370845"/>
                        </a:cubicBezTo>
                        <a:cubicBezTo>
                          <a:pt x="283255" y="353059"/>
                          <a:pt x="265085" y="322634"/>
                          <a:pt x="242796" y="312037"/>
                        </a:cubicBezTo>
                        <a:cubicBezTo>
                          <a:pt x="220509" y="301439"/>
                          <a:pt x="193477" y="299111"/>
                          <a:pt x="175842" y="281847"/>
                        </a:cubicBezTo>
                        <a:cubicBezTo>
                          <a:pt x="172729" y="261471"/>
                          <a:pt x="169617" y="241095"/>
                          <a:pt x="166506" y="220720"/>
                        </a:cubicBezTo>
                        <a:cubicBezTo>
                          <a:pt x="174701" y="216128"/>
                          <a:pt x="186498" y="220282"/>
                          <a:pt x="190003" y="229000"/>
                        </a:cubicBezTo>
                        <a:cubicBezTo>
                          <a:pt x="198514" y="226570"/>
                          <a:pt x="198961" y="213719"/>
                          <a:pt x="193379" y="206848"/>
                        </a:cubicBezTo>
                        <a:cubicBezTo>
                          <a:pt x="187797" y="199977"/>
                          <a:pt x="178969" y="196774"/>
                          <a:pt x="171861" y="191498"/>
                        </a:cubicBezTo>
                        <a:cubicBezTo>
                          <a:pt x="149991" y="175267"/>
                          <a:pt x="150345" y="137172"/>
                          <a:pt x="172512" y="121351"/>
                        </a:cubicBezTo>
                        <a:cubicBezTo>
                          <a:pt x="186970" y="122552"/>
                          <a:pt x="190923" y="141356"/>
                          <a:pt x="193348" y="155657"/>
                        </a:cubicBezTo>
                        <a:cubicBezTo>
                          <a:pt x="195773" y="169958"/>
                          <a:pt x="208722" y="187355"/>
                          <a:pt x="221009" y="179645"/>
                        </a:cubicBezTo>
                        <a:cubicBezTo>
                          <a:pt x="221663" y="171429"/>
                          <a:pt x="219326" y="163003"/>
                          <a:pt x="214523" y="156303"/>
                        </a:cubicBezTo>
                        <a:cubicBezTo>
                          <a:pt x="225767" y="163962"/>
                          <a:pt x="237010" y="171621"/>
                          <a:pt x="248253" y="179281"/>
                        </a:cubicBezTo>
                        <a:cubicBezTo>
                          <a:pt x="244949" y="171356"/>
                          <a:pt x="241644" y="163435"/>
                          <a:pt x="238340" y="155512"/>
                        </a:cubicBezTo>
                        <a:cubicBezTo>
                          <a:pt x="253547" y="159340"/>
                          <a:pt x="268751" y="163169"/>
                          <a:pt x="283959" y="166999"/>
                        </a:cubicBezTo>
                        <a:cubicBezTo>
                          <a:pt x="264902" y="157151"/>
                          <a:pt x="250433" y="138823"/>
                          <a:pt x="245272" y="118001"/>
                        </a:cubicBezTo>
                        <a:cubicBezTo>
                          <a:pt x="277823" y="99578"/>
                          <a:pt x="315265" y="89894"/>
                          <a:pt x="352668" y="90224"/>
                        </a:cubicBezTo>
                        <a:cubicBezTo>
                          <a:pt x="382574" y="90488"/>
                          <a:pt x="415874" y="99522"/>
                          <a:pt x="430664" y="125515"/>
                        </a:cubicBezTo>
                        <a:cubicBezTo>
                          <a:pt x="433431" y="130375"/>
                          <a:pt x="435788" y="136036"/>
                          <a:pt x="440790" y="138538"/>
                        </a:cubicBezTo>
                        <a:cubicBezTo>
                          <a:pt x="445017" y="140657"/>
                          <a:pt x="449082" y="139953"/>
                          <a:pt x="452837" y="137681"/>
                        </a:cubicBezTo>
                        <a:cubicBezTo>
                          <a:pt x="447209" y="134157"/>
                          <a:pt x="445284" y="126426"/>
                          <a:pt x="443952" y="120856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6" name="Forma libre 225">
                    <a:extLst>
                      <a:ext uri="{FF2B5EF4-FFF2-40B4-BE49-F238E27FC236}">
                        <a16:creationId xmlns:a16="http://schemas.microsoft.com/office/drawing/2014/main" id="{EC682FC9-93F3-1941-8B1A-77B8DFFDED8C}"/>
                      </a:ext>
                    </a:extLst>
                  </p:cNvPr>
                  <p:cNvSpPr/>
                  <p:nvPr/>
                </p:nvSpPr>
                <p:spPr>
                  <a:xfrm>
                    <a:off x="6007653" y="3295083"/>
                    <a:ext cx="242010" cy="343765"/>
                  </a:xfrm>
                  <a:custGeom>
                    <a:avLst/>
                    <a:gdLst>
                      <a:gd name="connsiteX0" fmla="*/ 34036 w 242010"/>
                      <a:gd name="connsiteY0" fmla="*/ 237444 h 343765"/>
                      <a:gd name="connsiteX1" fmla="*/ 39161 w 242010"/>
                      <a:gd name="connsiteY1" fmla="*/ 248606 h 343765"/>
                      <a:gd name="connsiteX2" fmla="*/ 43885 w 242010"/>
                      <a:gd name="connsiteY2" fmla="*/ 249668 h 343765"/>
                      <a:gd name="connsiteX3" fmla="*/ 50401 w 242010"/>
                      <a:gd name="connsiteY3" fmla="*/ 251057 h 343765"/>
                      <a:gd name="connsiteX4" fmla="*/ 59017 w 242010"/>
                      <a:gd name="connsiteY4" fmla="*/ 256569 h 343765"/>
                      <a:gd name="connsiteX5" fmla="*/ 65789 w 242010"/>
                      <a:gd name="connsiteY5" fmla="*/ 260344 h 343765"/>
                      <a:gd name="connsiteX6" fmla="*/ 68188 w 242010"/>
                      <a:gd name="connsiteY6" fmla="*/ 259633 h 343765"/>
                      <a:gd name="connsiteX7" fmla="*/ 73529 w 242010"/>
                      <a:gd name="connsiteY7" fmla="*/ 258300 h 343765"/>
                      <a:gd name="connsiteX8" fmla="*/ 88621 w 242010"/>
                      <a:gd name="connsiteY8" fmla="*/ 266762 h 343765"/>
                      <a:gd name="connsiteX9" fmla="*/ 89508 w 242010"/>
                      <a:gd name="connsiteY9" fmla="*/ 267741 h 343765"/>
                      <a:gd name="connsiteX10" fmla="*/ 116118 w 242010"/>
                      <a:gd name="connsiteY10" fmla="*/ 259543 h 343765"/>
                      <a:gd name="connsiteX11" fmla="*/ 143411 w 242010"/>
                      <a:gd name="connsiteY11" fmla="*/ 274645 h 343765"/>
                      <a:gd name="connsiteX12" fmla="*/ 149005 w 242010"/>
                      <a:gd name="connsiteY12" fmla="*/ 285339 h 343765"/>
                      <a:gd name="connsiteX13" fmla="*/ 157211 w 242010"/>
                      <a:gd name="connsiteY13" fmla="*/ 298257 h 343765"/>
                      <a:gd name="connsiteX14" fmla="*/ 167014 w 242010"/>
                      <a:gd name="connsiteY14" fmla="*/ 303355 h 343765"/>
                      <a:gd name="connsiteX15" fmla="*/ 184983 w 242010"/>
                      <a:gd name="connsiteY15" fmla="*/ 320597 h 343765"/>
                      <a:gd name="connsiteX16" fmla="*/ 184930 w 242010"/>
                      <a:gd name="connsiteY16" fmla="*/ 325861 h 343765"/>
                      <a:gd name="connsiteX17" fmla="*/ 184914 w 242010"/>
                      <a:gd name="connsiteY17" fmla="*/ 329357 h 343765"/>
                      <a:gd name="connsiteX18" fmla="*/ 189279 w 242010"/>
                      <a:gd name="connsiteY18" fmla="*/ 334765 h 343765"/>
                      <a:gd name="connsiteX19" fmla="*/ 195893 w 242010"/>
                      <a:gd name="connsiteY19" fmla="*/ 343766 h 343765"/>
                      <a:gd name="connsiteX20" fmla="*/ 212835 w 242010"/>
                      <a:gd name="connsiteY20" fmla="*/ 334206 h 343765"/>
                      <a:gd name="connsiteX21" fmla="*/ 226174 w 242010"/>
                      <a:gd name="connsiteY21" fmla="*/ 326634 h 343765"/>
                      <a:gd name="connsiteX22" fmla="*/ 220979 w 242010"/>
                      <a:gd name="connsiteY22" fmla="*/ 324980 h 343765"/>
                      <a:gd name="connsiteX23" fmla="*/ 214970 w 242010"/>
                      <a:gd name="connsiteY23" fmla="*/ 323764 h 343765"/>
                      <a:gd name="connsiteX24" fmla="*/ 236563 w 242010"/>
                      <a:gd name="connsiteY24" fmla="*/ 263778 h 343765"/>
                      <a:gd name="connsiteX25" fmla="*/ 236813 w 242010"/>
                      <a:gd name="connsiteY25" fmla="*/ 224277 h 343765"/>
                      <a:gd name="connsiteX26" fmla="*/ 231090 w 242010"/>
                      <a:gd name="connsiteY26" fmla="*/ 219654 h 343765"/>
                      <a:gd name="connsiteX27" fmla="*/ 219924 w 242010"/>
                      <a:gd name="connsiteY27" fmla="*/ 207791 h 343765"/>
                      <a:gd name="connsiteX28" fmla="*/ 226767 w 242010"/>
                      <a:gd name="connsiteY28" fmla="*/ 180964 h 343765"/>
                      <a:gd name="connsiteX29" fmla="*/ 230963 w 242010"/>
                      <a:gd name="connsiteY29" fmla="*/ 176338 h 343765"/>
                      <a:gd name="connsiteX30" fmla="*/ 239858 w 242010"/>
                      <a:gd name="connsiteY30" fmla="*/ 164119 h 343765"/>
                      <a:gd name="connsiteX31" fmla="*/ 238952 w 242010"/>
                      <a:gd name="connsiteY31" fmla="*/ 155055 h 343765"/>
                      <a:gd name="connsiteX32" fmla="*/ 235843 w 242010"/>
                      <a:gd name="connsiteY32" fmla="*/ 152855 h 343765"/>
                      <a:gd name="connsiteX33" fmla="*/ 236518 w 242010"/>
                      <a:gd name="connsiteY33" fmla="*/ 145852 h 343765"/>
                      <a:gd name="connsiteX34" fmla="*/ 216452 w 242010"/>
                      <a:gd name="connsiteY34" fmla="*/ 131166 h 343765"/>
                      <a:gd name="connsiteX35" fmla="*/ 201810 w 242010"/>
                      <a:gd name="connsiteY35" fmla="*/ 127615 h 343765"/>
                      <a:gd name="connsiteX36" fmla="*/ 162088 w 242010"/>
                      <a:gd name="connsiteY36" fmla="*/ 119981 h 343765"/>
                      <a:gd name="connsiteX37" fmla="*/ 114070 w 242010"/>
                      <a:gd name="connsiteY37" fmla="*/ 50440 h 343765"/>
                      <a:gd name="connsiteX38" fmla="*/ 97416 w 242010"/>
                      <a:gd name="connsiteY38" fmla="*/ 3017 h 343765"/>
                      <a:gd name="connsiteX39" fmla="*/ 7984 w 242010"/>
                      <a:gd name="connsiteY39" fmla="*/ 12289 h 343765"/>
                      <a:gd name="connsiteX40" fmla="*/ 8530 w 242010"/>
                      <a:gd name="connsiteY40" fmla="*/ 12465 h 343765"/>
                      <a:gd name="connsiteX41" fmla="*/ 2303 w 242010"/>
                      <a:gd name="connsiteY41" fmla="*/ 68137 h 343765"/>
                      <a:gd name="connsiteX42" fmla="*/ 7931 w 242010"/>
                      <a:gd name="connsiteY42" fmla="*/ 80941 h 343765"/>
                      <a:gd name="connsiteX43" fmla="*/ 15933 w 242010"/>
                      <a:gd name="connsiteY43" fmla="*/ 103241 h 343765"/>
                      <a:gd name="connsiteX44" fmla="*/ 12954 w 242010"/>
                      <a:gd name="connsiteY44" fmla="*/ 128140 h 343765"/>
                      <a:gd name="connsiteX45" fmla="*/ 10247 w 242010"/>
                      <a:gd name="connsiteY45" fmla="*/ 149426 h 343765"/>
                      <a:gd name="connsiteX46" fmla="*/ 19891 w 242010"/>
                      <a:gd name="connsiteY46" fmla="*/ 171922 h 343765"/>
                      <a:gd name="connsiteX47" fmla="*/ 30447 w 242010"/>
                      <a:gd name="connsiteY47" fmla="*/ 205922 h 343765"/>
                      <a:gd name="connsiteX48" fmla="*/ 24374 w 242010"/>
                      <a:gd name="connsiteY48" fmla="*/ 220978 h 343765"/>
                      <a:gd name="connsiteX49" fmla="*/ 33484 w 242010"/>
                      <a:gd name="connsiteY49" fmla="*/ 235088 h 343765"/>
                      <a:gd name="connsiteX50" fmla="*/ 34036 w 242010"/>
                      <a:gd name="connsiteY50" fmla="*/ 237444 h 3437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</a:cxnLst>
                    <a:rect l="l" t="t" r="r" b="b"/>
                    <a:pathLst>
                      <a:path w="242010" h="343765">
                        <a:moveTo>
                          <a:pt x="34036" y="237444"/>
                        </a:moveTo>
                        <a:cubicBezTo>
                          <a:pt x="35111" y="242172"/>
                          <a:pt x="36222" y="247055"/>
                          <a:pt x="39161" y="248606"/>
                        </a:cubicBezTo>
                        <a:cubicBezTo>
                          <a:pt x="40314" y="249208"/>
                          <a:pt x="41970" y="249422"/>
                          <a:pt x="43885" y="249668"/>
                        </a:cubicBezTo>
                        <a:cubicBezTo>
                          <a:pt x="45874" y="249922"/>
                          <a:pt x="48130" y="250215"/>
                          <a:pt x="50401" y="251057"/>
                        </a:cubicBezTo>
                        <a:cubicBezTo>
                          <a:pt x="53817" y="252334"/>
                          <a:pt x="56582" y="254590"/>
                          <a:pt x="59017" y="256569"/>
                        </a:cubicBezTo>
                        <a:cubicBezTo>
                          <a:pt x="62046" y="259048"/>
                          <a:pt x="64012" y="260492"/>
                          <a:pt x="65789" y="260344"/>
                        </a:cubicBezTo>
                        <a:cubicBezTo>
                          <a:pt x="66394" y="260288"/>
                          <a:pt x="67266" y="259972"/>
                          <a:pt x="68188" y="259633"/>
                        </a:cubicBezTo>
                        <a:cubicBezTo>
                          <a:pt x="69636" y="259106"/>
                          <a:pt x="71443" y="258450"/>
                          <a:pt x="73529" y="258300"/>
                        </a:cubicBezTo>
                        <a:cubicBezTo>
                          <a:pt x="80683" y="257790"/>
                          <a:pt x="85055" y="262764"/>
                          <a:pt x="88621" y="266762"/>
                        </a:cubicBezTo>
                        <a:cubicBezTo>
                          <a:pt x="88923" y="267096"/>
                          <a:pt x="89211" y="267415"/>
                          <a:pt x="89508" y="267741"/>
                        </a:cubicBezTo>
                        <a:cubicBezTo>
                          <a:pt x="96584" y="261798"/>
                          <a:pt x="106067" y="258702"/>
                          <a:pt x="116118" y="259543"/>
                        </a:cubicBezTo>
                        <a:cubicBezTo>
                          <a:pt x="127583" y="260479"/>
                          <a:pt x="137532" y="265980"/>
                          <a:pt x="143411" y="274645"/>
                        </a:cubicBezTo>
                        <a:cubicBezTo>
                          <a:pt x="145732" y="278073"/>
                          <a:pt x="147396" y="281772"/>
                          <a:pt x="149005" y="285339"/>
                        </a:cubicBezTo>
                        <a:cubicBezTo>
                          <a:pt x="151318" y="290471"/>
                          <a:pt x="153497" y="295306"/>
                          <a:pt x="157211" y="298257"/>
                        </a:cubicBezTo>
                        <a:cubicBezTo>
                          <a:pt x="159750" y="300277"/>
                          <a:pt x="163444" y="301842"/>
                          <a:pt x="167014" y="303355"/>
                        </a:cubicBezTo>
                        <a:cubicBezTo>
                          <a:pt x="174463" y="306528"/>
                          <a:pt x="183740" y="310462"/>
                          <a:pt x="184983" y="320597"/>
                        </a:cubicBezTo>
                        <a:cubicBezTo>
                          <a:pt x="185217" y="322531"/>
                          <a:pt x="185064" y="324300"/>
                          <a:pt x="184930" y="325861"/>
                        </a:cubicBezTo>
                        <a:cubicBezTo>
                          <a:pt x="184818" y="327228"/>
                          <a:pt x="184701" y="328510"/>
                          <a:pt x="184914" y="329357"/>
                        </a:cubicBezTo>
                        <a:cubicBezTo>
                          <a:pt x="185330" y="330988"/>
                          <a:pt x="187342" y="332907"/>
                          <a:pt x="189279" y="334765"/>
                        </a:cubicBezTo>
                        <a:cubicBezTo>
                          <a:pt x="191684" y="337065"/>
                          <a:pt x="194704" y="339950"/>
                          <a:pt x="195893" y="343766"/>
                        </a:cubicBezTo>
                        <a:cubicBezTo>
                          <a:pt x="201404" y="343373"/>
                          <a:pt x="207418" y="338550"/>
                          <a:pt x="212835" y="334206"/>
                        </a:cubicBezTo>
                        <a:cubicBezTo>
                          <a:pt x="216803" y="331034"/>
                          <a:pt x="221439" y="328291"/>
                          <a:pt x="226174" y="326634"/>
                        </a:cubicBezTo>
                        <a:cubicBezTo>
                          <a:pt x="224510" y="325904"/>
                          <a:pt x="222782" y="325345"/>
                          <a:pt x="220979" y="324980"/>
                        </a:cubicBezTo>
                        <a:lnTo>
                          <a:pt x="214970" y="323764"/>
                        </a:lnTo>
                        <a:lnTo>
                          <a:pt x="236563" y="263778"/>
                        </a:lnTo>
                        <a:cubicBezTo>
                          <a:pt x="241395" y="250327"/>
                          <a:pt x="245801" y="233684"/>
                          <a:pt x="236813" y="224277"/>
                        </a:cubicBezTo>
                        <a:cubicBezTo>
                          <a:pt x="235262" y="222654"/>
                          <a:pt x="233233" y="221199"/>
                          <a:pt x="231090" y="219654"/>
                        </a:cubicBezTo>
                        <a:cubicBezTo>
                          <a:pt x="226983" y="216707"/>
                          <a:pt x="222313" y="213358"/>
                          <a:pt x="219924" y="207791"/>
                        </a:cubicBezTo>
                        <a:cubicBezTo>
                          <a:pt x="216515" y="199854"/>
                          <a:pt x="219004" y="190071"/>
                          <a:pt x="226767" y="180964"/>
                        </a:cubicBezTo>
                        <a:cubicBezTo>
                          <a:pt x="228109" y="179391"/>
                          <a:pt x="229537" y="177870"/>
                          <a:pt x="230963" y="176338"/>
                        </a:cubicBezTo>
                        <a:cubicBezTo>
                          <a:pt x="234707" y="172337"/>
                          <a:pt x="238248" y="168557"/>
                          <a:pt x="239858" y="164119"/>
                        </a:cubicBezTo>
                        <a:cubicBezTo>
                          <a:pt x="240902" y="161277"/>
                          <a:pt x="240521" y="157546"/>
                          <a:pt x="238952" y="155055"/>
                        </a:cubicBezTo>
                        <a:cubicBezTo>
                          <a:pt x="238113" y="153717"/>
                          <a:pt x="237062" y="152980"/>
                          <a:pt x="235843" y="152855"/>
                        </a:cubicBezTo>
                        <a:lnTo>
                          <a:pt x="236518" y="145852"/>
                        </a:lnTo>
                        <a:cubicBezTo>
                          <a:pt x="231198" y="139251"/>
                          <a:pt x="224363" y="133964"/>
                          <a:pt x="216452" y="131166"/>
                        </a:cubicBezTo>
                        <a:cubicBezTo>
                          <a:pt x="211796" y="129526"/>
                          <a:pt x="206721" y="128561"/>
                          <a:pt x="201810" y="127615"/>
                        </a:cubicBezTo>
                        <a:lnTo>
                          <a:pt x="162088" y="119981"/>
                        </a:lnTo>
                        <a:lnTo>
                          <a:pt x="114070" y="50440"/>
                        </a:lnTo>
                        <a:cubicBezTo>
                          <a:pt x="101472" y="32192"/>
                          <a:pt x="95967" y="16031"/>
                          <a:pt x="97416" y="3017"/>
                        </a:cubicBezTo>
                        <a:cubicBezTo>
                          <a:pt x="67589" y="-3155"/>
                          <a:pt x="35965" y="243"/>
                          <a:pt x="7984" y="12289"/>
                        </a:cubicBezTo>
                        <a:lnTo>
                          <a:pt x="8530" y="12465"/>
                        </a:lnTo>
                        <a:cubicBezTo>
                          <a:pt x="1909" y="32942"/>
                          <a:pt x="-3131" y="51266"/>
                          <a:pt x="2303" y="68137"/>
                        </a:cubicBezTo>
                        <a:cubicBezTo>
                          <a:pt x="3684" y="72420"/>
                          <a:pt x="5748" y="76561"/>
                          <a:pt x="7931" y="80941"/>
                        </a:cubicBezTo>
                        <a:cubicBezTo>
                          <a:pt x="11381" y="87865"/>
                          <a:pt x="14945" y="95017"/>
                          <a:pt x="15933" y="103241"/>
                        </a:cubicBezTo>
                        <a:cubicBezTo>
                          <a:pt x="16965" y="111913"/>
                          <a:pt x="14927" y="120160"/>
                          <a:pt x="12954" y="128140"/>
                        </a:cubicBezTo>
                        <a:cubicBezTo>
                          <a:pt x="11117" y="135591"/>
                          <a:pt x="9380" y="142616"/>
                          <a:pt x="10247" y="149426"/>
                        </a:cubicBezTo>
                        <a:cubicBezTo>
                          <a:pt x="11227" y="157083"/>
                          <a:pt x="15432" y="164292"/>
                          <a:pt x="19891" y="171922"/>
                        </a:cubicBezTo>
                        <a:cubicBezTo>
                          <a:pt x="25973" y="182352"/>
                          <a:pt x="32265" y="193124"/>
                          <a:pt x="30447" y="205922"/>
                        </a:cubicBezTo>
                        <a:cubicBezTo>
                          <a:pt x="29659" y="211446"/>
                          <a:pt x="27321" y="216380"/>
                          <a:pt x="24374" y="220978"/>
                        </a:cubicBezTo>
                        <a:cubicBezTo>
                          <a:pt x="29324" y="224219"/>
                          <a:pt x="32338" y="230325"/>
                          <a:pt x="33484" y="235088"/>
                        </a:cubicBezTo>
                        <a:lnTo>
                          <a:pt x="34036" y="237444"/>
                        </a:ln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grpSp>
              <p:nvGrpSpPr>
                <p:cNvPr id="209" name="Gráfico 16">
                  <a:extLst>
                    <a:ext uri="{FF2B5EF4-FFF2-40B4-BE49-F238E27FC236}">
                      <a16:creationId xmlns:a16="http://schemas.microsoft.com/office/drawing/2014/main" id="{27114789-28E3-4042-A16F-C13B26D01759}"/>
                    </a:ext>
                  </a:extLst>
                </p:cNvPr>
                <p:cNvGrpSpPr/>
                <p:nvPr/>
              </p:nvGrpSpPr>
              <p:grpSpPr>
                <a:xfrm>
                  <a:off x="4018760" y="2769819"/>
                  <a:ext cx="1944149" cy="1222690"/>
                  <a:chOff x="4018760" y="2769819"/>
                  <a:chExt cx="1944149" cy="1222690"/>
                </a:xfrm>
                <a:grpFill/>
              </p:grpSpPr>
              <p:sp>
                <p:nvSpPr>
                  <p:cNvPr id="217" name="Forma libre 216">
                    <a:extLst>
                      <a:ext uri="{FF2B5EF4-FFF2-40B4-BE49-F238E27FC236}">
                        <a16:creationId xmlns:a16="http://schemas.microsoft.com/office/drawing/2014/main" id="{C0D8A000-29D7-FD4C-B000-C57D351CCF79}"/>
                      </a:ext>
                    </a:extLst>
                  </p:cNvPr>
                  <p:cNvSpPr/>
                  <p:nvPr/>
                </p:nvSpPr>
                <p:spPr>
                  <a:xfrm>
                    <a:off x="4018760" y="3197385"/>
                    <a:ext cx="916049" cy="697893"/>
                  </a:xfrm>
                  <a:custGeom>
                    <a:avLst/>
                    <a:gdLst>
                      <a:gd name="connsiteX0" fmla="*/ 914592 w 916049"/>
                      <a:gd name="connsiteY0" fmla="*/ 317185 h 697893"/>
                      <a:gd name="connsiteX1" fmla="*/ 896255 w 916049"/>
                      <a:gd name="connsiteY1" fmla="*/ 305502 h 697893"/>
                      <a:gd name="connsiteX2" fmla="*/ 889242 w 916049"/>
                      <a:gd name="connsiteY2" fmla="*/ 305284 h 697893"/>
                      <a:gd name="connsiteX3" fmla="*/ 862953 w 916049"/>
                      <a:gd name="connsiteY3" fmla="*/ 299504 h 697893"/>
                      <a:gd name="connsiteX4" fmla="*/ 860843 w 916049"/>
                      <a:gd name="connsiteY4" fmla="*/ 298062 h 697893"/>
                      <a:gd name="connsiteX5" fmla="*/ 859799 w 916049"/>
                      <a:gd name="connsiteY5" fmla="*/ 283144 h 697893"/>
                      <a:gd name="connsiteX6" fmla="*/ 845495 w 916049"/>
                      <a:gd name="connsiteY6" fmla="*/ 287946 h 697893"/>
                      <a:gd name="connsiteX7" fmla="*/ 817659 w 916049"/>
                      <a:gd name="connsiteY7" fmla="*/ 297185 h 697893"/>
                      <a:gd name="connsiteX8" fmla="*/ 812683 w 916049"/>
                      <a:gd name="connsiteY8" fmla="*/ 295164 h 697893"/>
                      <a:gd name="connsiteX9" fmla="*/ 814774 w 916049"/>
                      <a:gd name="connsiteY9" fmla="*/ 290213 h 697893"/>
                      <a:gd name="connsiteX10" fmla="*/ 815140 w 916049"/>
                      <a:gd name="connsiteY10" fmla="*/ 263287 h 697893"/>
                      <a:gd name="connsiteX11" fmla="*/ 729908 w 916049"/>
                      <a:gd name="connsiteY11" fmla="*/ 249322 h 697893"/>
                      <a:gd name="connsiteX12" fmla="*/ 683966 w 916049"/>
                      <a:gd name="connsiteY12" fmla="*/ 207384 h 697893"/>
                      <a:gd name="connsiteX13" fmla="*/ 679516 w 916049"/>
                      <a:gd name="connsiteY13" fmla="*/ 201583 h 697893"/>
                      <a:gd name="connsiteX14" fmla="*/ 673675 w 916049"/>
                      <a:gd name="connsiteY14" fmla="*/ 200698 h 697893"/>
                      <a:gd name="connsiteX15" fmla="*/ 642279 w 916049"/>
                      <a:gd name="connsiteY15" fmla="*/ 199867 h 697893"/>
                      <a:gd name="connsiteX16" fmla="*/ 642249 w 916049"/>
                      <a:gd name="connsiteY16" fmla="*/ 194737 h 697893"/>
                      <a:gd name="connsiteX17" fmla="*/ 592886 w 916049"/>
                      <a:gd name="connsiteY17" fmla="*/ 143257 h 697893"/>
                      <a:gd name="connsiteX18" fmla="*/ 596028 w 916049"/>
                      <a:gd name="connsiteY18" fmla="*/ 136838 h 697893"/>
                      <a:gd name="connsiteX19" fmla="*/ 560138 w 916049"/>
                      <a:gd name="connsiteY19" fmla="*/ 127329 h 697893"/>
                      <a:gd name="connsiteX20" fmla="*/ 504332 w 916049"/>
                      <a:gd name="connsiteY20" fmla="*/ 99437 h 697893"/>
                      <a:gd name="connsiteX21" fmla="*/ 483429 w 916049"/>
                      <a:gd name="connsiteY21" fmla="*/ 90123 h 697893"/>
                      <a:gd name="connsiteX22" fmla="*/ 435678 w 916049"/>
                      <a:gd name="connsiteY22" fmla="*/ 97450 h 697893"/>
                      <a:gd name="connsiteX23" fmla="*/ 412118 w 916049"/>
                      <a:gd name="connsiteY23" fmla="*/ 61086 h 697893"/>
                      <a:gd name="connsiteX24" fmla="*/ 357294 w 916049"/>
                      <a:gd name="connsiteY24" fmla="*/ 56775 h 697893"/>
                      <a:gd name="connsiteX25" fmla="*/ 319039 w 916049"/>
                      <a:gd name="connsiteY25" fmla="*/ 40897 h 697893"/>
                      <a:gd name="connsiteX26" fmla="*/ 301701 w 916049"/>
                      <a:gd name="connsiteY26" fmla="*/ 39815 h 697893"/>
                      <a:gd name="connsiteX27" fmla="*/ 292781 w 916049"/>
                      <a:gd name="connsiteY27" fmla="*/ 22110 h 697893"/>
                      <a:gd name="connsiteX28" fmla="*/ 260627 w 916049"/>
                      <a:gd name="connsiteY28" fmla="*/ 16 h 697893"/>
                      <a:gd name="connsiteX29" fmla="*/ 237068 w 916049"/>
                      <a:gd name="connsiteY29" fmla="*/ 27507 h 697893"/>
                      <a:gd name="connsiteX30" fmla="*/ 162768 w 916049"/>
                      <a:gd name="connsiteY30" fmla="*/ 24944 h 697893"/>
                      <a:gd name="connsiteX31" fmla="*/ 176534 w 916049"/>
                      <a:gd name="connsiteY31" fmla="*/ 68258 h 697893"/>
                      <a:gd name="connsiteX32" fmla="*/ 150861 w 916049"/>
                      <a:gd name="connsiteY32" fmla="*/ 101453 h 697893"/>
                      <a:gd name="connsiteX33" fmla="*/ 112941 w 916049"/>
                      <a:gd name="connsiteY33" fmla="*/ 226061 h 697893"/>
                      <a:gd name="connsiteX34" fmla="*/ 61770 w 916049"/>
                      <a:gd name="connsiteY34" fmla="*/ 309246 h 697893"/>
                      <a:gd name="connsiteX35" fmla="*/ 13718 w 916049"/>
                      <a:gd name="connsiteY35" fmla="*/ 366887 h 697893"/>
                      <a:gd name="connsiteX36" fmla="*/ 44216 w 916049"/>
                      <a:gd name="connsiteY36" fmla="*/ 396931 h 697893"/>
                      <a:gd name="connsiteX37" fmla="*/ 38392 w 916049"/>
                      <a:gd name="connsiteY37" fmla="*/ 417580 h 697893"/>
                      <a:gd name="connsiteX38" fmla="*/ 4311 w 916049"/>
                      <a:gd name="connsiteY38" fmla="*/ 489121 h 697893"/>
                      <a:gd name="connsiteX39" fmla="*/ 2292 w 916049"/>
                      <a:gd name="connsiteY39" fmla="*/ 511435 h 697893"/>
                      <a:gd name="connsiteX40" fmla="*/ 8380 w 916049"/>
                      <a:gd name="connsiteY40" fmla="*/ 516550 h 697893"/>
                      <a:gd name="connsiteX41" fmla="*/ 76528 w 916049"/>
                      <a:gd name="connsiteY41" fmla="*/ 549844 h 697893"/>
                      <a:gd name="connsiteX42" fmla="*/ 89830 w 916049"/>
                      <a:gd name="connsiteY42" fmla="*/ 551913 h 697893"/>
                      <a:gd name="connsiteX43" fmla="*/ 82034 w 916049"/>
                      <a:gd name="connsiteY43" fmla="*/ 536738 h 697893"/>
                      <a:gd name="connsiteX44" fmla="*/ 92015 w 916049"/>
                      <a:gd name="connsiteY44" fmla="*/ 504901 h 697893"/>
                      <a:gd name="connsiteX45" fmla="*/ 138389 w 916049"/>
                      <a:gd name="connsiteY45" fmla="*/ 487901 h 697893"/>
                      <a:gd name="connsiteX46" fmla="*/ 136692 w 916049"/>
                      <a:gd name="connsiteY46" fmla="*/ 476764 h 697893"/>
                      <a:gd name="connsiteX47" fmla="*/ 126204 w 916049"/>
                      <a:gd name="connsiteY47" fmla="*/ 467245 h 697893"/>
                      <a:gd name="connsiteX48" fmla="*/ 115009 w 916049"/>
                      <a:gd name="connsiteY48" fmla="*/ 463864 h 697893"/>
                      <a:gd name="connsiteX49" fmla="*/ 124945 w 916049"/>
                      <a:gd name="connsiteY49" fmla="*/ 457677 h 697893"/>
                      <a:gd name="connsiteX50" fmla="*/ 158326 w 916049"/>
                      <a:gd name="connsiteY50" fmla="*/ 370628 h 697893"/>
                      <a:gd name="connsiteX51" fmla="*/ 155816 w 916049"/>
                      <a:gd name="connsiteY51" fmla="*/ 361958 h 697893"/>
                      <a:gd name="connsiteX52" fmla="*/ 185903 w 916049"/>
                      <a:gd name="connsiteY52" fmla="*/ 368922 h 697893"/>
                      <a:gd name="connsiteX53" fmla="*/ 188432 w 916049"/>
                      <a:gd name="connsiteY53" fmla="*/ 357298 h 697893"/>
                      <a:gd name="connsiteX54" fmla="*/ 194039 w 916049"/>
                      <a:gd name="connsiteY54" fmla="*/ 337914 h 697893"/>
                      <a:gd name="connsiteX55" fmla="*/ 203752 w 916049"/>
                      <a:gd name="connsiteY55" fmla="*/ 331221 h 697893"/>
                      <a:gd name="connsiteX56" fmla="*/ 207013 w 916049"/>
                      <a:gd name="connsiteY56" fmla="*/ 329533 h 697893"/>
                      <a:gd name="connsiteX57" fmla="*/ 225861 w 916049"/>
                      <a:gd name="connsiteY57" fmla="*/ 279566 h 697893"/>
                      <a:gd name="connsiteX58" fmla="*/ 257393 w 916049"/>
                      <a:gd name="connsiteY58" fmla="*/ 225237 h 697893"/>
                      <a:gd name="connsiteX59" fmla="*/ 276777 w 916049"/>
                      <a:gd name="connsiteY59" fmla="*/ 224503 h 697893"/>
                      <a:gd name="connsiteX60" fmla="*/ 285679 w 916049"/>
                      <a:gd name="connsiteY60" fmla="*/ 224943 h 697893"/>
                      <a:gd name="connsiteX61" fmla="*/ 302033 w 916049"/>
                      <a:gd name="connsiteY61" fmla="*/ 216061 h 697893"/>
                      <a:gd name="connsiteX62" fmla="*/ 297140 w 916049"/>
                      <a:gd name="connsiteY62" fmla="*/ 201699 h 697893"/>
                      <a:gd name="connsiteX63" fmla="*/ 275474 w 916049"/>
                      <a:gd name="connsiteY63" fmla="*/ 177968 h 697893"/>
                      <a:gd name="connsiteX64" fmla="*/ 261770 w 916049"/>
                      <a:gd name="connsiteY64" fmla="*/ 174575 h 697893"/>
                      <a:gd name="connsiteX65" fmla="*/ 256318 w 916049"/>
                      <a:gd name="connsiteY65" fmla="*/ 173633 h 697893"/>
                      <a:gd name="connsiteX66" fmla="*/ 160527 w 916049"/>
                      <a:gd name="connsiteY66" fmla="*/ 101929 h 697893"/>
                      <a:gd name="connsiteX67" fmla="*/ 168636 w 916049"/>
                      <a:gd name="connsiteY67" fmla="*/ 95124 h 697893"/>
                      <a:gd name="connsiteX68" fmla="*/ 258324 w 916049"/>
                      <a:gd name="connsiteY68" fmla="*/ 163233 h 697893"/>
                      <a:gd name="connsiteX69" fmla="*/ 263466 w 916049"/>
                      <a:gd name="connsiteY69" fmla="*/ 164115 h 697893"/>
                      <a:gd name="connsiteX70" fmla="*/ 279804 w 916049"/>
                      <a:gd name="connsiteY70" fmla="*/ 168295 h 697893"/>
                      <a:gd name="connsiteX71" fmla="*/ 306170 w 916049"/>
                      <a:gd name="connsiteY71" fmla="*/ 196158 h 697893"/>
                      <a:gd name="connsiteX72" fmla="*/ 312363 w 916049"/>
                      <a:gd name="connsiteY72" fmla="*/ 218379 h 697893"/>
                      <a:gd name="connsiteX73" fmla="*/ 285821 w 916049"/>
                      <a:gd name="connsiteY73" fmla="*/ 235529 h 697893"/>
                      <a:gd name="connsiteX74" fmla="*/ 275935 w 916049"/>
                      <a:gd name="connsiteY74" fmla="*/ 235055 h 697893"/>
                      <a:gd name="connsiteX75" fmla="*/ 260123 w 916049"/>
                      <a:gd name="connsiteY75" fmla="*/ 235474 h 697893"/>
                      <a:gd name="connsiteX76" fmla="*/ 236417 w 916049"/>
                      <a:gd name="connsiteY76" fmla="*/ 280417 h 697893"/>
                      <a:gd name="connsiteX77" fmla="*/ 212305 w 916049"/>
                      <a:gd name="connsiteY77" fmla="*/ 338694 h 697893"/>
                      <a:gd name="connsiteX78" fmla="*/ 208431 w 916049"/>
                      <a:gd name="connsiteY78" fmla="*/ 340720 h 697893"/>
                      <a:gd name="connsiteX79" fmla="*/ 202084 w 916049"/>
                      <a:gd name="connsiteY79" fmla="*/ 344803 h 697893"/>
                      <a:gd name="connsiteX80" fmla="*/ 199001 w 916049"/>
                      <a:gd name="connsiteY80" fmla="*/ 357941 h 697893"/>
                      <a:gd name="connsiteX81" fmla="*/ 189718 w 916049"/>
                      <a:gd name="connsiteY81" fmla="*/ 379266 h 697893"/>
                      <a:gd name="connsiteX82" fmla="*/ 187931 w 916049"/>
                      <a:gd name="connsiteY82" fmla="*/ 380262 h 697893"/>
                      <a:gd name="connsiteX83" fmla="*/ 170468 w 916049"/>
                      <a:gd name="connsiteY83" fmla="*/ 376213 h 697893"/>
                      <a:gd name="connsiteX84" fmla="*/ 137799 w 916049"/>
                      <a:gd name="connsiteY84" fmla="*/ 461571 h 697893"/>
                      <a:gd name="connsiteX85" fmla="*/ 146246 w 916049"/>
                      <a:gd name="connsiteY85" fmla="*/ 472190 h 697893"/>
                      <a:gd name="connsiteX86" fmla="*/ 147345 w 916049"/>
                      <a:gd name="connsiteY86" fmla="*/ 494876 h 697893"/>
                      <a:gd name="connsiteX87" fmla="*/ 146111 w 916049"/>
                      <a:gd name="connsiteY87" fmla="*/ 497926 h 697893"/>
                      <a:gd name="connsiteX88" fmla="*/ 142823 w 916049"/>
                      <a:gd name="connsiteY88" fmla="*/ 498167 h 697893"/>
                      <a:gd name="connsiteX89" fmla="*/ 99464 w 916049"/>
                      <a:gd name="connsiteY89" fmla="*/ 512424 h 697893"/>
                      <a:gd name="connsiteX90" fmla="*/ 92475 w 916049"/>
                      <a:gd name="connsiteY90" fmla="*/ 534973 h 697893"/>
                      <a:gd name="connsiteX91" fmla="*/ 100586 w 916049"/>
                      <a:gd name="connsiteY91" fmla="*/ 546806 h 697893"/>
                      <a:gd name="connsiteX92" fmla="*/ 97760 w 916049"/>
                      <a:gd name="connsiteY92" fmla="*/ 552695 h 697893"/>
                      <a:gd name="connsiteX93" fmla="*/ 127813 w 916049"/>
                      <a:gd name="connsiteY93" fmla="*/ 556841 h 697893"/>
                      <a:gd name="connsiteX94" fmla="*/ 165387 w 916049"/>
                      <a:gd name="connsiteY94" fmla="*/ 588580 h 697893"/>
                      <a:gd name="connsiteX95" fmla="*/ 164390 w 916049"/>
                      <a:gd name="connsiteY95" fmla="*/ 620274 h 697893"/>
                      <a:gd name="connsiteX96" fmla="*/ 192870 w 916049"/>
                      <a:gd name="connsiteY96" fmla="*/ 679294 h 697893"/>
                      <a:gd name="connsiteX97" fmla="*/ 260608 w 916049"/>
                      <a:gd name="connsiteY97" fmla="*/ 652589 h 697893"/>
                      <a:gd name="connsiteX98" fmla="*/ 278038 w 916049"/>
                      <a:gd name="connsiteY98" fmla="*/ 673742 h 697893"/>
                      <a:gd name="connsiteX99" fmla="*/ 288572 w 916049"/>
                      <a:gd name="connsiteY99" fmla="*/ 641456 h 697893"/>
                      <a:gd name="connsiteX100" fmla="*/ 317513 w 916049"/>
                      <a:gd name="connsiteY100" fmla="*/ 640279 h 697893"/>
                      <a:gd name="connsiteX101" fmla="*/ 340012 w 916049"/>
                      <a:gd name="connsiteY101" fmla="*/ 664477 h 697893"/>
                      <a:gd name="connsiteX102" fmla="*/ 369779 w 916049"/>
                      <a:gd name="connsiteY102" fmla="*/ 676173 h 697893"/>
                      <a:gd name="connsiteX103" fmla="*/ 463148 w 916049"/>
                      <a:gd name="connsiteY103" fmla="*/ 697893 h 697893"/>
                      <a:gd name="connsiteX104" fmla="*/ 479291 w 916049"/>
                      <a:gd name="connsiteY104" fmla="*/ 646460 h 697893"/>
                      <a:gd name="connsiteX105" fmla="*/ 533085 w 916049"/>
                      <a:gd name="connsiteY105" fmla="*/ 642950 h 697893"/>
                      <a:gd name="connsiteX106" fmla="*/ 548637 w 916049"/>
                      <a:gd name="connsiteY106" fmla="*/ 650388 h 697893"/>
                      <a:gd name="connsiteX107" fmla="*/ 569915 w 916049"/>
                      <a:gd name="connsiteY107" fmla="*/ 627093 h 697893"/>
                      <a:gd name="connsiteX108" fmla="*/ 581806 w 916049"/>
                      <a:gd name="connsiteY108" fmla="*/ 595399 h 697893"/>
                      <a:gd name="connsiteX109" fmla="*/ 640991 w 916049"/>
                      <a:gd name="connsiteY109" fmla="*/ 579057 h 697893"/>
                      <a:gd name="connsiteX110" fmla="*/ 629908 w 916049"/>
                      <a:gd name="connsiteY110" fmla="*/ 535843 h 697893"/>
                      <a:gd name="connsiteX111" fmla="*/ 666179 w 916049"/>
                      <a:gd name="connsiteY111" fmla="*/ 469304 h 697893"/>
                      <a:gd name="connsiteX112" fmla="*/ 733873 w 916049"/>
                      <a:gd name="connsiteY112" fmla="*/ 424293 h 697893"/>
                      <a:gd name="connsiteX113" fmla="*/ 755475 w 916049"/>
                      <a:gd name="connsiteY113" fmla="*/ 397058 h 697893"/>
                      <a:gd name="connsiteX114" fmla="*/ 778552 w 916049"/>
                      <a:gd name="connsiteY114" fmla="*/ 388447 h 697893"/>
                      <a:gd name="connsiteX115" fmla="*/ 908517 w 916049"/>
                      <a:gd name="connsiteY115" fmla="*/ 334430 h 697893"/>
                      <a:gd name="connsiteX116" fmla="*/ 916049 w 916049"/>
                      <a:gd name="connsiteY116" fmla="*/ 317129 h 697893"/>
                      <a:gd name="connsiteX117" fmla="*/ 914592 w 916049"/>
                      <a:gd name="connsiteY117" fmla="*/ 317185 h 6978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</a:cxnLst>
                    <a:rect l="l" t="t" r="r" b="b"/>
                    <a:pathLst>
                      <a:path w="916049" h="697893">
                        <a:moveTo>
                          <a:pt x="914592" y="317185"/>
                        </a:moveTo>
                        <a:cubicBezTo>
                          <a:pt x="914305" y="309907"/>
                          <a:pt x="903702" y="305973"/>
                          <a:pt x="896255" y="305502"/>
                        </a:cubicBezTo>
                        <a:cubicBezTo>
                          <a:pt x="893954" y="305352"/>
                          <a:pt x="891600" y="305320"/>
                          <a:pt x="889242" y="305284"/>
                        </a:cubicBezTo>
                        <a:cubicBezTo>
                          <a:pt x="880677" y="305152"/>
                          <a:pt x="870963" y="304997"/>
                          <a:pt x="862953" y="299504"/>
                        </a:cubicBezTo>
                        <a:lnTo>
                          <a:pt x="860843" y="298062"/>
                        </a:lnTo>
                        <a:lnTo>
                          <a:pt x="859799" y="283144"/>
                        </a:lnTo>
                        <a:cubicBezTo>
                          <a:pt x="856354" y="281607"/>
                          <a:pt x="850183" y="284217"/>
                          <a:pt x="845495" y="287946"/>
                        </a:cubicBezTo>
                        <a:cubicBezTo>
                          <a:pt x="838272" y="293680"/>
                          <a:pt x="828381" y="301529"/>
                          <a:pt x="817659" y="297185"/>
                        </a:cubicBezTo>
                        <a:lnTo>
                          <a:pt x="812683" y="295164"/>
                        </a:lnTo>
                        <a:lnTo>
                          <a:pt x="814774" y="290213"/>
                        </a:lnTo>
                        <a:cubicBezTo>
                          <a:pt x="818354" y="281726"/>
                          <a:pt x="818450" y="271879"/>
                          <a:pt x="815140" y="263287"/>
                        </a:cubicBezTo>
                        <a:cubicBezTo>
                          <a:pt x="787621" y="262987"/>
                          <a:pt x="756901" y="262172"/>
                          <a:pt x="729908" y="249322"/>
                        </a:cubicBezTo>
                        <a:cubicBezTo>
                          <a:pt x="710984" y="240309"/>
                          <a:pt x="694665" y="225415"/>
                          <a:pt x="683966" y="207384"/>
                        </a:cubicBezTo>
                        <a:cubicBezTo>
                          <a:pt x="682306" y="204574"/>
                          <a:pt x="681043" y="202442"/>
                          <a:pt x="679516" y="201583"/>
                        </a:cubicBezTo>
                        <a:cubicBezTo>
                          <a:pt x="678113" y="200808"/>
                          <a:pt x="675756" y="200742"/>
                          <a:pt x="673675" y="200698"/>
                        </a:cubicBezTo>
                        <a:lnTo>
                          <a:pt x="642279" y="199867"/>
                        </a:lnTo>
                        <a:lnTo>
                          <a:pt x="642249" y="194737"/>
                        </a:lnTo>
                        <a:cubicBezTo>
                          <a:pt x="642104" y="170453"/>
                          <a:pt x="615791" y="154462"/>
                          <a:pt x="592886" y="143257"/>
                        </a:cubicBezTo>
                        <a:lnTo>
                          <a:pt x="596028" y="136838"/>
                        </a:lnTo>
                        <a:cubicBezTo>
                          <a:pt x="583822" y="135354"/>
                          <a:pt x="571623" y="131701"/>
                          <a:pt x="560138" y="127329"/>
                        </a:cubicBezTo>
                        <a:cubicBezTo>
                          <a:pt x="540668" y="119920"/>
                          <a:pt x="521946" y="110561"/>
                          <a:pt x="504332" y="99437"/>
                        </a:cubicBezTo>
                        <a:cubicBezTo>
                          <a:pt x="497817" y="95324"/>
                          <a:pt x="491101" y="90838"/>
                          <a:pt x="483429" y="90123"/>
                        </a:cubicBezTo>
                        <a:cubicBezTo>
                          <a:pt x="467025" y="88589"/>
                          <a:pt x="450545" y="104552"/>
                          <a:pt x="435678" y="97450"/>
                        </a:cubicBezTo>
                        <a:cubicBezTo>
                          <a:pt x="422397" y="91105"/>
                          <a:pt x="422280" y="71736"/>
                          <a:pt x="412118" y="61086"/>
                        </a:cubicBezTo>
                        <a:cubicBezTo>
                          <a:pt x="398871" y="47204"/>
                          <a:pt x="376206" y="53521"/>
                          <a:pt x="357294" y="56775"/>
                        </a:cubicBezTo>
                        <a:cubicBezTo>
                          <a:pt x="338382" y="60028"/>
                          <a:pt x="316729" y="59947"/>
                          <a:pt x="319039" y="40897"/>
                        </a:cubicBezTo>
                        <a:cubicBezTo>
                          <a:pt x="315226" y="46339"/>
                          <a:pt x="306213" y="44695"/>
                          <a:pt x="301701" y="39815"/>
                        </a:cubicBezTo>
                        <a:cubicBezTo>
                          <a:pt x="297193" y="34934"/>
                          <a:pt x="295570" y="28143"/>
                          <a:pt x="292781" y="22110"/>
                        </a:cubicBezTo>
                        <a:cubicBezTo>
                          <a:pt x="286996" y="9602"/>
                          <a:pt x="274403" y="-453"/>
                          <a:pt x="260627" y="16"/>
                        </a:cubicBezTo>
                        <a:cubicBezTo>
                          <a:pt x="246852" y="484"/>
                          <a:pt x="234015" y="14066"/>
                          <a:pt x="237068" y="27507"/>
                        </a:cubicBezTo>
                        <a:cubicBezTo>
                          <a:pt x="213798" y="17390"/>
                          <a:pt x="186680" y="16457"/>
                          <a:pt x="162768" y="24944"/>
                        </a:cubicBezTo>
                        <a:cubicBezTo>
                          <a:pt x="169685" y="38600"/>
                          <a:pt x="176772" y="52951"/>
                          <a:pt x="176534" y="68258"/>
                        </a:cubicBezTo>
                        <a:cubicBezTo>
                          <a:pt x="176297" y="83565"/>
                          <a:pt x="166089" y="99890"/>
                          <a:pt x="150861" y="101453"/>
                        </a:cubicBezTo>
                        <a:cubicBezTo>
                          <a:pt x="151129" y="145265"/>
                          <a:pt x="131832" y="186528"/>
                          <a:pt x="112941" y="226061"/>
                        </a:cubicBezTo>
                        <a:cubicBezTo>
                          <a:pt x="98843" y="255567"/>
                          <a:pt x="84375" y="285617"/>
                          <a:pt x="61770" y="309246"/>
                        </a:cubicBezTo>
                        <a:cubicBezTo>
                          <a:pt x="44289" y="327521"/>
                          <a:pt x="21460" y="342808"/>
                          <a:pt x="13718" y="366887"/>
                        </a:cubicBezTo>
                        <a:cubicBezTo>
                          <a:pt x="27615" y="372712"/>
                          <a:pt x="43229" y="381892"/>
                          <a:pt x="44216" y="396931"/>
                        </a:cubicBezTo>
                        <a:cubicBezTo>
                          <a:pt x="44691" y="404150"/>
                          <a:pt x="41505" y="411047"/>
                          <a:pt x="38392" y="417580"/>
                        </a:cubicBezTo>
                        <a:cubicBezTo>
                          <a:pt x="27032" y="441427"/>
                          <a:pt x="15672" y="465275"/>
                          <a:pt x="4311" y="489121"/>
                        </a:cubicBezTo>
                        <a:cubicBezTo>
                          <a:pt x="930" y="496220"/>
                          <a:pt x="-2335" y="505078"/>
                          <a:pt x="2292" y="511435"/>
                        </a:cubicBezTo>
                        <a:cubicBezTo>
                          <a:pt x="3861" y="513591"/>
                          <a:pt x="6146" y="515094"/>
                          <a:pt x="8380" y="516550"/>
                        </a:cubicBezTo>
                        <a:cubicBezTo>
                          <a:pt x="29693" y="530434"/>
                          <a:pt x="51640" y="544590"/>
                          <a:pt x="76528" y="549844"/>
                        </a:cubicBezTo>
                        <a:cubicBezTo>
                          <a:pt x="80922" y="550772"/>
                          <a:pt x="85366" y="551404"/>
                          <a:pt x="89830" y="551913"/>
                        </a:cubicBezTo>
                        <a:cubicBezTo>
                          <a:pt x="85844" y="548082"/>
                          <a:pt x="83079" y="542952"/>
                          <a:pt x="82034" y="536738"/>
                        </a:cubicBezTo>
                        <a:cubicBezTo>
                          <a:pt x="80112" y="525302"/>
                          <a:pt x="84026" y="512810"/>
                          <a:pt x="92015" y="504901"/>
                        </a:cubicBezTo>
                        <a:cubicBezTo>
                          <a:pt x="104191" y="492844"/>
                          <a:pt x="121305" y="489395"/>
                          <a:pt x="138389" y="487901"/>
                        </a:cubicBezTo>
                        <a:cubicBezTo>
                          <a:pt x="139020" y="484341"/>
                          <a:pt x="138441" y="480424"/>
                          <a:pt x="136692" y="476764"/>
                        </a:cubicBezTo>
                        <a:cubicBezTo>
                          <a:pt x="134432" y="472044"/>
                          <a:pt x="130611" y="468577"/>
                          <a:pt x="126204" y="467245"/>
                        </a:cubicBezTo>
                        <a:lnTo>
                          <a:pt x="115009" y="463864"/>
                        </a:lnTo>
                        <a:lnTo>
                          <a:pt x="124945" y="457677"/>
                        </a:lnTo>
                        <a:cubicBezTo>
                          <a:pt x="153245" y="440067"/>
                          <a:pt x="167599" y="402643"/>
                          <a:pt x="158326" y="370628"/>
                        </a:cubicBezTo>
                        <a:lnTo>
                          <a:pt x="155816" y="361958"/>
                        </a:lnTo>
                        <a:lnTo>
                          <a:pt x="185903" y="368922"/>
                        </a:lnTo>
                        <a:cubicBezTo>
                          <a:pt x="187745" y="366787"/>
                          <a:pt x="188088" y="362916"/>
                          <a:pt x="188432" y="357298"/>
                        </a:cubicBezTo>
                        <a:cubicBezTo>
                          <a:pt x="188828" y="350819"/>
                          <a:pt x="189275" y="343483"/>
                          <a:pt x="194039" y="337914"/>
                        </a:cubicBezTo>
                        <a:cubicBezTo>
                          <a:pt x="196863" y="334614"/>
                          <a:pt x="200521" y="332807"/>
                          <a:pt x="203752" y="331221"/>
                        </a:cubicBezTo>
                        <a:cubicBezTo>
                          <a:pt x="204854" y="330675"/>
                          <a:pt x="205957" y="330139"/>
                          <a:pt x="207013" y="329533"/>
                        </a:cubicBezTo>
                        <a:cubicBezTo>
                          <a:pt x="221384" y="321232"/>
                          <a:pt x="224053" y="301995"/>
                          <a:pt x="225861" y="279566"/>
                        </a:cubicBezTo>
                        <a:cubicBezTo>
                          <a:pt x="228336" y="248851"/>
                          <a:pt x="239241" y="230069"/>
                          <a:pt x="257393" y="225237"/>
                        </a:cubicBezTo>
                        <a:cubicBezTo>
                          <a:pt x="263984" y="223481"/>
                          <a:pt x="270479" y="223980"/>
                          <a:pt x="276777" y="224503"/>
                        </a:cubicBezTo>
                        <a:cubicBezTo>
                          <a:pt x="279752" y="224741"/>
                          <a:pt x="282784" y="224945"/>
                          <a:pt x="285679" y="224943"/>
                        </a:cubicBezTo>
                        <a:cubicBezTo>
                          <a:pt x="292835" y="224848"/>
                          <a:pt x="300750" y="221770"/>
                          <a:pt x="302033" y="216061"/>
                        </a:cubicBezTo>
                        <a:cubicBezTo>
                          <a:pt x="302994" y="211761"/>
                          <a:pt x="300267" y="206817"/>
                          <a:pt x="297140" y="201699"/>
                        </a:cubicBezTo>
                        <a:cubicBezTo>
                          <a:pt x="291848" y="193082"/>
                          <a:pt x="285256" y="182345"/>
                          <a:pt x="275474" y="177968"/>
                        </a:cubicBezTo>
                        <a:cubicBezTo>
                          <a:pt x="271374" y="176128"/>
                          <a:pt x="266711" y="175376"/>
                          <a:pt x="261770" y="174575"/>
                        </a:cubicBezTo>
                        <a:cubicBezTo>
                          <a:pt x="259950" y="174276"/>
                          <a:pt x="258127" y="173981"/>
                          <a:pt x="256318" y="173633"/>
                        </a:cubicBezTo>
                        <a:cubicBezTo>
                          <a:pt x="217102" y="166067"/>
                          <a:pt x="188630" y="135397"/>
                          <a:pt x="160527" y="101929"/>
                        </a:cubicBezTo>
                        <a:lnTo>
                          <a:pt x="168636" y="95124"/>
                        </a:lnTo>
                        <a:cubicBezTo>
                          <a:pt x="195468" y="127070"/>
                          <a:pt x="222518" y="156324"/>
                          <a:pt x="258324" y="163233"/>
                        </a:cubicBezTo>
                        <a:cubicBezTo>
                          <a:pt x="260034" y="163561"/>
                          <a:pt x="261747" y="163838"/>
                          <a:pt x="263466" y="164115"/>
                        </a:cubicBezTo>
                        <a:cubicBezTo>
                          <a:pt x="268862" y="164995"/>
                          <a:pt x="274439" y="165895"/>
                          <a:pt x="279804" y="168295"/>
                        </a:cubicBezTo>
                        <a:cubicBezTo>
                          <a:pt x="292573" y="174024"/>
                          <a:pt x="300114" y="186294"/>
                          <a:pt x="306170" y="196158"/>
                        </a:cubicBezTo>
                        <a:cubicBezTo>
                          <a:pt x="310312" y="202932"/>
                          <a:pt x="314193" y="210215"/>
                          <a:pt x="312363" y="218379"/>
                        </a:cubicBezTo>
                        <a:cubicBezTo>
                          <a:pt x="309754" y="230014"/>
                          <a:pt x="297150" y="235383"/>
                          <a:pt x="285821" y="235529"/>
                        </a:cubicBezTo>
                        <a:cubicBezTo>
                          <a:pt x="282639" y="235606"/>
                          <a:pt x="279235" y="235319"/>
                          <a:pt x="275935" y="235055"/>
                        </a:cubicBezTo>
                        <a:cubicBezTo>
                          <a:pt x="270290" y="234602"/>
                          <a:pt x="264965" y="234177"/>
                          <a:pt x="260123" y="235474"/>
                        </a:cubicBezTo>
                        <a:cubicBezTo>
                          <a:pt x="242266" y="240220"/>
                          <a:pt x="237604" y="265668"/>
                          <a:pt x="236417" y="280417"/>
                        </a:cubicBezTo>
                        <a:cubicBezTo>
                          <a:pt x="234831" y="300048"/>
                          <a:pt x="232665" y="326948"/>
                          <a:pt x="212305" y="338694"/>
                        </a:cubicBezTo>
                        <a:cubicBezTo>
                          <a:pt x="211054" y="339418"/>
                          <a:pt x="209745" y="340069"/>
                          <a:pt x="208431" y="340720"/>
                        </a:cubicBezTo>
                        <a:cubicBezTo>
                          <a:pt x="205895" y="341971"/>
                          <a:pt x="203493" y="343148"/>
                          <a:pt x="202084" y="344803"/>
                        </a:cubicBezTo>
                        <a:cubicBezTo>
                          <a:pt x="199628" y="347675"/>
                          <a:pt x="199324" y="352664"/>
                          <a:pt x="199001" y="357941"/>
                        </a:cubicBezTo>
                        <a:cubicBezTo>
                          <a:pt x="198544" y="365382"/>
                          <a:pt x="197977" y="374654"/>
                          <a:pt x="189718" y="379266"/>
                        </a:cubicBezTo>
                        <a:lnTo>
                          <a:pt x="187931" y="380262"/>
                        </a:lnTo>
                        <a:lnTo>
                          <a:pt x="170468" y="376213"/>
                        </a:lnTo>
                        <a:cubicBezTo>
                          <a:pt x="175921" y="407627"/>
                          <a:pt x="162819" y="441824"/>
                          <a:pt x="137799" y="461571"/>
                        </a:cubicBezTo>
                        <a:cubicBezTo>
                          <a:pt x="141288" y="464296"/>
                          <a:pt x="144206" y="467924"/>
                          <a:pt x="146246" y="472190"/>
                        </a:cubicBezTo>
                        <a:cubicBezTo>
                          <a:pt x="149785" y="479580"/>
                          <a:pt x="150191" y="487852"/>
                          <a:pt x="147345" y="494876"/>
                        </a:cubicBezTo>
                        <a:lnTo>
                          <a:pt x="146111" y="497926"/>
                        </a:lnTo>
                        <a:lnTo>
                          <a:pt x="142823" y="498167"/>
                        </a:lnTo>
                        <a:cubicBezTo>
                          <a:pt x="126573" y="499366"/>
                          <a:pt x="110070" y="501917"/>
                          <a:pt x="99464" y="512424"/>
                        </a:cubicBezTo>
                        <a:cubicBezTo>
                          <a:pt x="93935" y="517895"/>
                          <a:pt x="91128" y="526956"/>
                          <a:pt x="92475" y="534973"/>
                        </a:cubicBezTo>
                        <a:cubicBezTo>
                          <a:pt x="93141" y="538919"/>
                          <a:pt x="95084" y="544168"/>
                          <a:pt x="100586" y="546806"/>
                        </a:cubicBezTo>
                        <a:lnTo>
                          <a:pt x="97760" y="552695"/>
                        </a:lnTo>
                        <a:cubicBezTo>
                          <a:pt x="107861" y="553628"/>
                          <a:pt x="117983" y="554421"/>
                          <a:pt x="127813" y="556841"/>
                        </a:cubicBezTo>
                        <a:cubicBezTo>
                          <a:pt x="144582" y="560967"/>
                          <a:pt x="161497" y="571757"/>
                          <a:pt x="165387" y="588580"/>
                        </a:cubicBezTo>
                        <a:cubicBezTo>
                          <a:pt x="167779" y="598925"/>
                          <a:pt x="164869" y="609666"/>
                          <a:pt x="164390" y="620274"/>
                        </a:cubicBezTo>
                        <a:cubicBezTo>
                          <a:pt x="163362" y="643013"/>
                          <a:pt x="174433" y="665951"/>
                          <a:pt x="192870" y="679294"/>
                        </a:cubicBezTo>
                        <a:cubicBezTo>
                          <a:pt x="215449" y="670393"/>
                          <a:pt x="238029" y="661491"/>
                          <a:pt x="260608" y="652589"/>
                        </a:cubicBezTo>
                        <a:cubicBezTo>
                          <a:pt x="266417" y="659640"/>
                          <a:pt x="272227" y="666693"/>
                          <a:pt x="278038" y="673742"/>
                        </a:cubicBezTo>
                        <a:cubicBezTo>
                          <a:pt x="289934" y="668842"/>
                          <a:pt x="295289" y="652427"/>
                          <a:pt x="288572" y="641456"/>
                        </a:cubicBezTo>
                        <a:cubicBezTo>
                          <a:pt x="293831" y="631751"/>
                          <a:pt x="308940" y="633327"/>
                          <a:pt x="317513" y="640279"/>
                        </a:cubicBezTo>
                        <a:cubicBezTo>
                          <a:pt x="326085" y="647235"/>
                          <a:pt x="331339" y="657650"/>
                          <a:pt x="340012" y="664477"/>
                        </a:cubicBezTo>
                        <a:cubicBezTo>
                          <a:pt x="348461" y="671127"/>
                          <a:pt x="359307" y="673737"/>
                          <a:pt x="369779" y="676173"/>
                        </a:cubicBezTo>
                        <a:cubicBezTo>
                          <a:pt x="400902" y="683414"/>
                          <a:pt x="432023" y="690654"/>
                          <a:pt x="463148" y="697893"/>
                        </a:cubicBezTo>
                        <a:cubicBezTo>
                          <a:pt x="457566" y="679630"/>
                          <a:pt x="464274" y="658257"/>
                          <a:pt x="479291" y="646460"/>
                        </a:cubicBezTo>
                        <a:cubicBezTo>
                          <a:pt x="494309" y="634663"/>
                          <a:pt x="516662" y="633204"/>
                          <a:pt x="533085" y="642950"/>
                        </a:cubicBezTo>
                        <a:cubicBezTo>
                          <a:pt x="538078" y="645916"/>
                          <a:pt x="542851" y="649910"/>
                          <a:pt x="548637" y="650388"/>
                        </a:cubicBezTo>
                        <a:cubicBezTo>
                          <a:pt x="560141" y="651341"/>
                          <a:pt x="567657" y="638410"/>
                          <a:pt x="569915" y="627093"/>
                        </a:cubicBezTo>
                        <a:cubicBezTo>
                          <a:pt x="572172" y="615772"/>
                          <a:pt x="572904" y="602747"/>
                          <a:pt x="581806" y="595399"/>
                        </a:cubicBezTo>
                        <a:cubicBezTo>
                          <a:pt x="598269" y="581810"/>
                          <a:pt x="630567" y="597685"/>
                          <a:pt x="640991" y="579057"/>
                        </a:cubicBezTo>
                        <a:cubicBezTo>
                          <a:pt x="648551" y="565549"/>
                          <a:pt x="634708" y="550561"/>
                          <a:pt x="629908" y="535843"/>
                        </a:cubicBezTo>
                        <a:cubicBezTo>
                          <a:pt x="621444" y="509892"/>
                          <a:pt x="642892" y="483546"/>
                          <a:pt x="666179" y="469304"/>
                        </a:cubicBezTo>
                        <a:cubicBezTo>
                          <a:pt x="689465" y="455059"/>
                          <a:pt x="717075" y="445812"/>
                          <a:pt x="733873" y="424293"/>
                        </a:cubicBezTo>
                        <a:cubicBezTo>
                          <a:pt x="741040" y="415114"/>
                          <a:pt x="746042" y="403888"/>
                          <a:pt x="755475" y="397058"/>
                        </a:cubicBezTo>
                        <a:cubicBezTo>
                          <a:pt x="762175" y="392204"/>
                          <a:pt x="770442" y="390097"/>
                          <a:pt x="778552" y="388447"/>
                        </a:cubicBezTo>
                        <a:cubicBezTo>
                          <a:pt x="826147" y="378759"/>
                          <a:pt x="884048" y="376388"/>
                          <a:pt x="908517" y="334430"/>
                        </a:cubicBezTo>
                        <a:cubicBezTo>
                          <a:pt x="911704" y="328967"/>
                          <a:pt x="914029" y="323116"/>
                          <a:pt x="916049" y="317129"/>
                        </a:cubicBezTo>
                        <a:lnTo>
                          <a:pt x="914592" y="317185"/>
                        </a:ln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18" name="Forma libre 217">
                    <a:extLst>
                      <a:ext uri="{FF2B5EF4-FFF2-40B4-BE49-F238E27FC236}">
                        <a16:creationId xmlns:a16="http://schemas.microsoft.com/office/drawing/2014/main" id="{D2BAF95B-89E8-1E40-B1C8-768BF4A9534B}"/>
                      </a:ext>
                    </a:extLst>
                  </p:cNvPr>
                  <p:cNvSpPr/>
                  <p:nvPr/>
                </p:nvSpPr>
                <p:spPr>
                  <a:xfrm>
                    <a:off x="4590129" y="2769819"/>
                    <a:ext cx="1372780" cy="1222690"/>
                  </a:xfrm>
                  <a:custGeom>
                    <a:avLst/>
                    <a:gdLst>
                      <a:gd name="connsiteX0" fmla="*/ 1371443 w 1372780"/>
                      <a:gd name="connsiteY0" fmla="*/ 1034124 h 1222690"/>
                      <a:gd name="connsiteX1" fmla="*/ 1327178 w 1372780"/>
                      <a:gd name="connsiteY1" fmla="*/ 992867 h 1222690"/>
                      <a:gd name="connsiteX2" fmla="*/ 1198543 w 1372780"/>
                      <a:gd name="connsiteY2" fmla="*/ 922455 h 1222690"/>
                      <a:gd name="connsiteX3" fmla="*/ 1224168 w 1372780"/>
                      <a:gd name="connsiteY3" fmla="*/ 904816 h 1222690"/>
                      <a:gd name="connsiteX4" fmla="*/ 1195781 w 1372780"/>
                      <a:gd name="connsiteY4" fmla="*/ 885501 h 1222690"/>
                      <a:gd name="connsiteX5" fmla="*/ 1158710 w 1372780"/>
                      <a:gd name="connsiteY5" fmla="*/ 886883 h 1222690"/>
                      <a:gd name="connsiteX6" fmla="*/ 1129936 w 1372780"/>
                      <a:gd name="connsiteY6" fmla="*/ 875148 h 1222690"/>
                      <a:gd name="connsiteX7" fmla="*/ 1076188 w 1372780"/>
                      <a:gd name="connsiteY7" fmla="*/ 791608 h 1222690"/>
                      <a:gd name="connsiteX8" fmla="*/ 1065883 w 1372780"/>
                      <a:gd name="connsiteY8" fmla="*/ 742045 h 1222690"/>
                      <a:gd name="connsiteX9" fmla="*/ 983109 w 1372780"/>
                      <a:gd name="connsiteY9" fmla="*/ 666360 h 1222690"/>
                      <a:gd name="connsiteX10" fmla="*/ 989568 w 1372780"/>
                      <a:gd name="connsiteY10" fmla="*/ 621988 h 1222690"/>
                      <a:gd name="connsiteX11" fmla="*/ 977436 w 1372780"/>
                      <a:gd name="connsiteY11" fmla="*/ 581653 h 1222690"/>
                      <a:gd name="connsiteX12" fmla="*/ 1076358 w 1372780"/>
                      <a:gd name="connsiteY12" fmla="*/ 541848 h 1222690"/>
                      <a:gd name="connsiteX13" fmla="*/ 1068793 w 1372780"/>
                      <a:gd name="connsiteY13" fmla="*/ 490298 h 1222690"/>
                      <a:gd name="connsiteX14" fmla="*/ 1065507 w 1372780"/>
                      <a:gd name="connsiteY14" fmla="*/ 484653 h 1222690"/>
                      <a:gd name="connsiteX15" fmla="*/ 1050812 w 1372780"/>
                      <a:gd name="connsiteY15" fmla="*/ 485644 h 1222690"/>
                      <a:gd name="connsiteX16" fmla="*/ 1032150 w 1372780"/>
                      <a:gd name="connsiteY16" fmla="*/ 488598 h 1222690"/>
                      <a:gd name="connsiteX17" fmla="*/ 1018449 w 1372780"/>
                      <a:gd name="connsiteY17" fmla="*/ 482193 h 1222690"/>
                      <a:gd name="connsiteX18" fmla="*/ 971929 w 1372780"/>
                      <a:gd name="connsiteY18" fmla="*/ 450820 h 1222690"/>
                      <a:gd name="connsiteX19" fmla="*/ 955657 w 1372780"/>
                      <a:gd name="connsiteY19" fmla="*/ 443672 h 1222690"/>
                      <a:gd name="connsiteX20" fmla="*/ 940039 w 1372780"/>
                      <a:gd name="connsiteY20" fmla="*/ 449207 h 1222690"/>
                      <a:gd name="connsiteX21" fmla="*/ 912912 w 1372780"/>
                      <a:gd name="connsiteY21" fmla="*/ 453662 h 1222690"/>
                      <a:gd name="connsiteX22" fmla="*/ 905871 w 1372780"/>
                      <a:gd name="connsiteY22" fmla="*/ 449028 h 1222690"/>
                      <a:gd name="connsiteX23" fmla="*/ 899095 w 1372780"/>
                      <a:gd name="connsiteY23" fmla="*/ 445510 h 1222690"/>
                      <a:gd name="connsiteX24" fmla="*/ 897888 w 1372780"/>
                      <a:gd name="connsiteY24" fmla="*/ 453400 h 1222690"/>
                      <a:gd name="connsiteX25" fmla="*/ 892913 w 1372780"/>
                      <a:gd name="connsiteY25" fmla="*/ 470576 h 1222690"/>
                      <a:gd name="connsiteX26" fmla="*/ 871004 w 1372780"/>
                      <a:gd name="connsiteY26" fmla="*/ 469582 h 1222690"/>
                      <a:gd name="connsiteX27" fmla="*/ 863125 w 1372780"/>
                      <a:gd name="connsiteY27" fmla="*/ 466456 h 1222690"/>
                      <a:gd name="connsiteX28" fmla="*/ 846969 w 1372780"/>
                      <a:gd name="connsiteY28" fmla="*/ 501659 h 1222690"/>
                      <a:gd name="connsiteX29" fmla="*/ 841495 w 1372780"/>
                      <a:gd name="connsiteY29" fmla="*/ 505445 h 1222690"/>
                      <a:gd name="connsiteX30" fmla="*/ 839040 w 1372780"/>
                      <a:gd name="connsiteY30" fmla="*/ 499267 h 1222690"/>
                      <a:gd name="connsiteX31" fmla="*/ 820626 w 1372780"/>
                      <a:gd name="connsiteY31" fmla="*/ 473248 h 1222690"/>
                      <a:gd name="connsiteX32" fmla="*/ 806511 w 1372780"/>
                      <a:gd name="connsiteY32" fmla="*/ 499935 h 1222690"/>
                      <a:gd name="connsiteX33" fmla="*/ 802079 w 1372780"/>
                      <a:gd name="connsiteY33" fmla="*/ 489988 h 1222690"/>
                      <a:gd name="connsiteX34" fmla="*/ 788273 w 1372780"/>
                      <a:gd name="connsiteY34" fmla="*/ 476314 h 1222690"/>
                      <a:gd name="connsiteX35" fmla="*/ 785754 w 1372780"/>
                      <a:gd name="connsiteY35" fmla="*/ 477490 h 1222690"/>
                      <a:gd name="connsiteX36" fmla="*/ 785127 w 1372780"/>
                      <a:gd name="connsiteY36" fmla="*/ 486328 h 1222690"/>
                      <a:gd name="connsiteX37" fmla="*/ 783205 w 1372780"/>
                      <a:gd name="connsiteY37" fmla="*/ 501826 h 1222690"/>
                      <a:gd name="connsiteX38" fmla="*/ 770028 w 1372780"/>
                      <a:gd name="connsiteY38" fmla="*/ 508605 h 1222690"/>
                      <a:gd name="connsiteX39" fmla="*/ 751088 w 1372780"/>
                      <a:gd name="connsiteY39" fmla="*/ 496523 h 1222690"/>
                      <a:gd name="connsiteX40" fmla="*/ 746505 w 1372780"/>
                      <a:gd name="connsiteY40" fmla="*/ 478993 h 1222690"/>
                      <a:gd name="connsiteX41" fmla="*/ 744333 w 1372780"/>
                      <a:gd name="connsiteY41" fmla="*/ 468057 h 1222690"/>
                      <a:gd name="connsiteX42" fmla="*/ 735496 w 1372780"/>
                      <a:gd name="connsiteY42" fmla="*/ 458256 h 1222690"/>
                      <a:gd name="connsiteX43" fmla="*/ 733541 w 1372780"/>
                      <a:gd name="connsiteY43" fmla="*/ 457826 h 1222690"/>
                      <a:gd name="connsiteX44" fmla="*/ 737026 w 1372780"/>
                      <a:gd name="connsiteY44" fmla="*/ 508087 h 1222690"/>
                      <a:gd name="connsiteX45" fmla="*/ 727614 w 1372780"/>
                      <a:gd name="connsiteY45" fmla="*/ 500596 h 1222690"/>
                      <a:gd name="connsiteX46" fmla="*/ 712884 w 1372780"/>
                      <a:gd name="connsiteY46" fmla="*/ 501307 h 1222690"/>
                      <a:gd name="connsiteX47" fmla="*/ 709086 w 1372780"/>
                      <a:gd name="connsiteY47" fmla="*/ 504985 h 1222690"/>
                      <a:gd name="connsiteX48" fmla="*/ 705401 w 1372780"/>
                      <a:gd name="connsiteY48" fmla="*/ 501186 h 1222690"/>
                      <a:gd name="connsiteX49" fmla="*/ 653082 w 1372780"/>
                      <a:gd name="connsiteY49" fmla="*/ 494731 h 1222690"/>
                      <a:gd name="connsiteX50" fmla="*/ 639952 w 1372780"/>
                      <a:gd name="connsiteY50" fmla="*/ 559473 h 1222690"/>
                      <a:gd name="connsiteX51" fmla="*/ 638696 w 1372780"/>
                      <a:gd name="connsiteY51" fmla="*/ 563505 h 1222690"/>
                      <a:gd name="connsiteX52" fmla="*/ 613087 w 1372780"/>
                      <a:gd name="connsiteY52" fmla="*/ 561472 h 1222690"/>
                      <a:gd name="connsiteX53" fmla="*/ 624193 w 1372780"/>
                      <a:gd name="connsiteY53" fmla="*/ 576512 h 1222690"/>
                      <a:gd name="connsiteX54" fmla="*/ 640624 w 1372780"/>
                      <a:gd name="connsiteY54" fmla="*/ 604790 h 1222690"/>
                      <a:gd name="connsiteX55" fmla="*/ 635496 w 1372780"/>
                      <a:gd name="connsiteY55" fmla="*/ 618150 h 1222690"/>
                      <a:gd name="connsiteX56" fmla="*/ 632311 w 1372780"/>
                      <a:gd name="connsiteY56" fmla="*/ 624472 h 1222690"/>
                      <a:gd name="connsiteX57" fmla="*/ 633236 w 1372780"/>
                      <a:gd name="connsiteY57" fmla="*/ 637466 h 1222690"/>
                      <a:gd name="connsiteX58" fmla="*/ 670270 w 1372780"/>
                      <a:gd name="connsiteY58" fmla="*/ 661711 h 1222690"/>
                      <a:gd name="connsiteX59" fmla="*/ 667249 w 1372780"/>
                      <a:gd name="connsiteY59" fmla="*/ 671870 h 1222690"/>
                      <a:gd name="connsiteX60" fmla="*/ 623802 w 1372780"/>
                      <a:gd name="connsiteY60" fmla="*/ 642275 h 1222690"/>
                      <a:gd name="connsiteX61" fmla="*/ 622314 w 1372780"/>
                      <a:gd name="connsiteY61" fmla="*/ 620969 h 1222690"/>
                      <a:gd name="connsiteX62" fmla="*/ 626325 w 1372780"/>
                      <a:gd name="connsiteY62" fmla="*/ 612850 h 1222690"/>
                      <a:gd name="connsiteX63" fmla="*/ 630069 w 1372780"/>
                      <a:gd name="connsiteY63" fmla="*/ 603916 h 1222690"/>
                      <a:gd name="connsiteX64" fmla="*/ 616910 w 1372780"/>
                      <a:gd name="connsiteY64" fmla="*/ 584198 h 1222690"/>
                      <a:gd name="connsiteX65" fmla="*/ 604964 w 1372780"/>
                      <a:gd name="connsiteY65" fmla="*/ 553134 h 1222690"/>
                      <a:gd name="connsiteX66" fmla="*/ 606654 w 1372780"/>
                      <a:gd name="connsiteY66" fmla="*/ 550328 h 1222690"/>
                      <a:gd name="connsiteX67" fmla="*/ 631073 w 1372780"/>
                      <a:gd name="connsiteY67" fmla="*/ 552277 h 1222690"/>
                      <a:gd name="connsiteX68" fmla="*/ 643955 w 1372780"/>
                      <a:gd name="connsiteY68" fmla="*/ 445876 h 1222690"/>
                      <a:gd name="connsiteX69" fmla="*/ 602561 w 1372780"/>
                      <a:gd name="connsiteY69" fmla="*/ 467305 h 1222690"/>
                      <a:gd name="connsiteX70" fmla="*/ 600447 w 1372780"/>
                      <a:gd name="connsiteY70" fmla="*/ 461768 h 1222690"/>
                      <a:gd name="connsiteX71" fmla="*/ 614635 w 1372780"/>
                      <a:gd name="connsiteY71" fmla="*/ 427105 h 1222690"/>
                      <a:gd name="connsiteX72" fmla="*/ 671682 w 1372780"/>
                      <a:gd name="connsiteY72" fmla="*/ 372223 h 1222690"/>
                      <a:gd name="connsiteX73" fmla="*/ 699394 w 1372780"/>
                      <a:gd name="connsiteY73" fmla="*/ 370589 h 1222690"/>
                      <a:gd name="connsiteX74" fmla="*/ 756699 w 1372780"/>
                      <a:gd name="connsiteY74" fmla="*/ 243787 h 1222690"/>
                      <a:gd name="connsiteX75" fmla="*/ 754414 w 1372780"/>
                      <a:gd name="connsiteY75" fmla="*/ 239761 h 1222690"/>
                      <a:gd name="connsiteX76" fmla="*/ 735062 w 1372780"/>
                      <a:gd name="connsiteY76" fmla="*/ 234062 h 1222690"/>
                      <a:gd name="connsiteX77" fmla="*/ 728727 w 1372780"/>
                      <a:gd name="connsiteY77" fmla="*/ 234690 h 1222690"/>
                      <a:gd name="connsiteX78" fmla="*/ 695444 w 1372780"/>
                      <a:gd name="connsiteY78" fmla="*/ 229230 h 1222690"/>
                      <a:gd name="connsiteX79" fmla="*/ 684011 w 1372780"/>
                      <a:gd name="connsiteY79" fmla="*/ 205392 h 1222690"/>
                      <a:gd name="connsiteX80" fmla="*/ 678019 w 1372780"/>
                      <a:gd name="connsiteY80" fmla="*/ 188982 h 1222690"/>
                      <a:gd name="connsiteX81" fmla="*/ 645771 w 1372780"/>
                      <a:gd name="connsiteY81" fmla="*/ 179114 h 1222690"/>
                      <a:gd name="connsiteX82" fmla="*/ 620046 w 1372780"/>
                      <a:gd name="connsiteY82" fmla="*/ 175784 h 1222690"/>
                      <a:gd name="connsiteX83" fmla="*/ 578325 w 1372780"/>
                      <a:gd name="connsiteY83" fmla="*/ 139674 h 1222690"/>
                      <a:gd name="connsiteX84" fmla="*/ 572829 w 1372780"/>
                      <a:gd name="connsiteY84" fmla="*/ 121398 h 1222690"/>
                      <a:gd name="connsiteX85" fmla="*/ 564471 w 1372780"/>
                      <a:gd name="connsiteY85" fmla="*/ 101063 h 1222690"/>
                      <a:gd name="connsiteX86" fmla="*/ 553793 w 1372780"/>
                      <a:gd name="connsiteY86" fmla="*/ 100788 h 1222690"/>
                      <a:gd name="connsiteX87" fmla="*/ 551345 w 1372780"/>
                      <a:gd name="connsiteY87" fmla="*/ 101101 h 1222690"/>
                      <a:gd name="connsiteX88" fmla="*/ 524193 w 1372780"/>
                      <a:gd name="connsiteY88" fmla="*/ 98797 h 1222690"/>
                      <a:gd name="connsiteX89" fmla="*/ 516187 w 1372780"/>
                      <a:gd name="connsiteY89" fmla="*/ 94415 h 1222690"/>
                      <a:gd name="connsiteX90" fmla="*/ 512053 w 1372780"/>
                      <a:gd name="connsiteY90" fmla="*/ 83203 h 1222690"/>
                      <a:gd name="connsiteX91" fmla="*/ 510191 w 1372780"/>
                      <a:gd name="connsiteY91" fmla="*/ 66036 h 1222690"/>
                      <a:gd name="connsiteX92" fmla="*/ 508830 w 1372780"/>
                      <a:gd name="connsiteY92" fmla="*/ 61051 h 1222690"/>
                      <a:gd name="connsiteX93" fmla="*/ 506542 w 1372780"/>
                      <a:gd name="connsiteY93" fmla="*/ 60189 h 1222690"/>
                      <a:gd name="connsiteX94" fmla="*/ 504625 w 1372780"/>
                      <a:gd name="connsiteY94" fmla="*/ 59584 h 1222690"/>
                      <a:gd name="connsiteX95" fmla="*/ 486564 w 1372780"/>
                      <a:gd name="connsiteY95" fmla="*/ 39219 h 1222690"/>
                      <a:gd name="connsiteX96" fmla="*/ 481131 w 1372780"/>
                      <a:gd name="connsiteY96" fmla="*/ 26532 h 1222690"/>
                      <a:gd name="connsiteX97" fmla="*/ 468619 w 1372780"/>
                      <a:gd name="connsiteY97" fmla="*/ 1917 h 1222690"/>
                      <a:gd name="connsiteX98" fmla="*/ 471019 w 1372780"/>
                      <a:gd name="connsiteY98" fmla="*/ 0 h 1222690"/>
                      <a:gd name="connsiteX99" fmla="*/ 445282 w 1372780"/>
                      <a:gd name="connsiteY99" fmla="*/ 10579 h 1222690"/>
                      <a:gd name="connsiteX100" fmla="*/ 373779 w 1372780"/>
                      <a:gd name="connsiteY100" fmla="*/ 84789 h 1222690"/>
                      <a:gd name="connsiteX101" fmla="*/ 350185 w 1372780"/>
                      <a:gd name="connsiteY101" fmla="*/ 105150 h 1222690"/>
                      <a:gd name="connsiteX102" fmla="*/ 241286 w 1372780"/>
                      <a:gd name="connsiteY102" fmla="*/ 73102 h 1222690"/>
                      <a:gd name="connsiteX103" fmla="*/ 236294 w 1372780"/>
                      <a:gd name="connsiteY103" fmla="*/ 65957 h 1222690"/>
                      <a:gd name="connsiteX104" fmla="*/ 215546 w 1372780"/>
                      <a:gd name="connsiteY104" fmla="*/ 73062 h 1222690"/>
                      <a:gd name="connsiteX105" fmla="*/ 213419 w 1372780"/>
                      <a:gd name="connsiteY105" fmla="*/ 97952 h 1222690"/>
                      <a:gd name="connsiteX106" fmla="*/ 207872 w 1372780"/>
                      <a:gd name="connsiteY106" fmla="*/ 121909 h 1222690"/>
                      <a:gd name="connsiteX107" fmla="*/ 171795 w 1372780"/>
                      <a:gd name="connsiteY107" fmla="*/ 125586 h 1222690"/>
                      <a:gd name="connsiteX108" fmla="*/ 1846 w 1372780"/>
                      <a:gd name="connsiteY108" fmla="*/ 99997 h 1222690"/>
                      <a:gd name="connsiteX109" fmla="*/ 33588 w 1372780"/>
                      <a:gd name="connsiteY109" fmla="*/ 124453 h 1222690"/>
                      <a:gd name="connsiteX110" fmla="*/ 0 w 1372780"/>
                      <a:gd name="connsiteY110" fmla="*/ 159457 h 1222690"/>
                      <a:gd name="connsiteX111" fmla="*/ 100770 w 1372780"/>
                      <a:gd name="connsiteY111" fmla="*/ 209741 h 1222690"/>
                      <a:gd name="connsiteX112" fmla="*/ 120099 w 1372780"/>
                      <a:gd name="connsiteY112" fmla="*/ 248118 h 1222690"/>
                      <a:gd name="connsiteX113" fmla="*/ 137719 w 1372780"/>
                      <a:gd name="connsiteY113" fmla="*/ 271325 h 1222690"/>
                      <a:gd name="connsiteX114" fmla="*/ 123442 w 1372780"/>
                      <a:gd name="connsiteY114" fmla="*/ 300385 h 1222690"/>
                      <a:gd name="connsiteX115" fmla="*/ 182929 w 1372780"/>
                      <a:gd name="connsiteY115" fmla="*/ 332578 h 1222690"/>
                      <a:gd name="connsiteX116" fmla="*/ 171605 w 1372780"/>
                      <a:gd name="connsiteY116" fmla="*/ 454061 h 1222690"/>
                      <a:gd name="connsiteX117" fmla="*/ 156075 w 1372780"/>
                      <a:gd name="connsiteY117" fmla="*/ 420117 h 1222690"/>
                      <a:gd name="connsiteX118" fmla="*/ 107465 w 1372780"/>
                      <a:gd name="connsiteY118" fmla="*/ 521569 h 1222690"/>
                      <a:gd name="connsiteX119" fmla="*/ 59465 w 1372780"/>
                      <a:gd name="connsiteY119" fmla="*/ 561214 h 1222690"/>
                      <a:gd name="connsiteX120" fmla="*/ 33541 w 1372780"/>
                      <a:gd name="connsiteY120" fmla="*/ 565076 h 1222690"/>
                      <a:gd name="connsiteX121" fmla="*/ 81150 w 1372780"/>
                      <a:gd name="connsiteY121" fmla="*/ 617106 h 1222690"/>
                      <a:gd name="connsiteX122" fmla="*/ 102586 w 1372780"/>
                      <a:gd name="connsiteY122" fmla="*/ 617670 h 1222690"/>
                      <a:gd name="connsiteX123" fmla="*/ 113302 w 1372780"/>
                      <a:gd name="connsiteY123" fmla="*/ 619897 h 1222690"/>
                      <a:gd name="connsiteX124" fmla="*/ 121392 w 1372780"/>
                      <a:gd name="connsiteY124" fmla="*/ 629021 h 1222690"/>
                      <a:gd name="connsiteX125" fmla="*/ 163092 w 1372780"/>
                      <a:gd name="connsiteY125" fmla="*/ 667318 h 1222690"/>
                      <a:gd name="connsiteX126" fmla="*/ 247293 w 1372780"/>
                      <a:gd name="connsiteY126" fmla="*/ 680299 h 1222690"/>
                      <a:gd name="connsiteX127" fmla="*/ 250543 w 1372780"/>
                      <a:gd name="connsiteY127" fmla="*/ 680337 h 1222690"/>
                      <a:gd name="connsiteX128" fmla="*/ 251985 w 1372780"/>
                      <a:gd name="connsiteY128" fmla="*/ 683241 h 1222690"/>
                      <a:gd name="connsiteX129" fmla="*/ 255459 w 1372780"/>
                      <a:gd name="connsiteY129" fmla="*/ 714907 h 1222690"/>
                      <a:gd name="connsiteX130" fmla="*/ 267534 w 1372780"/>
                      <a:gd name="connsiteY130" fmla="*/ 707225 h 1222690"/>
                      <a:gd name="connsiteX131" fmla="*/ 297413 w 1372780"/>
                      <a:gd name="connsiteY131" fmla="*/ 704364 h 1222690"/>
                      <a:gd name="connsiteX132" fmla="*/ 298700 w 1372780"/>
                      <a:gd name="connsiteY132" fmla="*/ 705730 h 1222690"/>
                      <a:gd name="connsiteX133" fmla="*/ 299668 w 1372780"/>
                      <a:gd name="connsiteY133" fmla="*/ 719551 h 1222690"/>
                      <a:gd name="connsiteX134" fmla="*/ 318038 w 1372780"/>
                      <a:gd name="connsiteY134" fmla="*/ 722259 h 1222690"/>
                      <a:gd name="connsiteX135" fmla="*/ 325564 w 1372780"/>
                      <a:gd name="connsiteY135" fmla="*/ 722494 h 1222690"/>
                      <a:gd name="connsiteX136" fmla="*/ 348559 w 1372780"/>
                      <a:gd name="connsiteY136" fmla="*/ 732266 h 1222690"/>
                      <a:gd name="connsiteX137" fmla="*/ 357829 w 1372780"/>
                      <a:gd name="connsiteY137" fmla="*/ 706091 h 1222690"/>
                      <a:gd name="connsiteX138" fmla="*/ 445528 w 1372780"/>
                      <a:gd name="connsiteY138" fmla="*/ 659501 h 1222690"/>
                      <a:gd name="connsiteX139" fmla="*/ 529789 w 1372780"/>
                      <a:gd name="connsiteY139" fmla="*/ 716360 h 1222690"/>
                      <a:gd name="connsiteX140" fmla="*/ 530174 w 1372780"/>
                      <a:gd name="connsiteY140" fmla="*/ 716172 h 1222690"/>
                      <a:gd name="connsiteX141" fmla="*/ 530857 w 1372780"/>
                      <a:gd name="connsiteY141" fmla="*/ 723539 h 1222690"/>
                      <a:gd name="connsiteX142" fmla="*/ 544262 w 1372780"/>
                      <a:gd name="connsiteY142" fmla="*/ 732449 h 1222690"/>
                      <a:gd name="connsiteX143" fmla="*/ 573009 w 1372780"/>
                      <a:gd name="connsiteY143" fmla="*/ 736625 h 1222690"/>
                      <a:gd name="connsiteX144" fmla="*/ 595110 w 1372780"/>
                      <a:gd name="connsiteY144" fmla="*/ 720140 h 1222690"/>
                      <a:gd name="connsiteX145" fmla="*/ 625372 w 1372780"/>
                      <a:gd name="connsiteY145" fmla="*/ 695535 h 1222690"/>
                      <a:gd name="connsiteX146" fmla="*/ 659700 w 1372780"/>
                      <a:gd name="connsiteY146" fmla="*/ 688431 h 1222690"/>
                      <a:gd name="connsiteX147" fmla="*/ 666286 w 1372780"/>
                      <a:gd name="connsiteY147" fmla="*/ 675589 h 1222690"/>
                      <a:gd name="connsiteX148" fmla="*/ 695907 w 1372780"/>
                      <a:gd name="connsiteY148" fmla="*/ 667176 h 1222690"/>
                      <a:gd name="connsiteX149" fmla="*/ 715232 w 1372780"/>
                      <a:gd name="connsiteY149" fmla="*/ 647928 h 1222690"/>
                      <a:gd name="connsiteX150" fmla="*/ 775444 w 1372780"/>
                      <a:gd name="connsiteY150" fmla="*/ 655078 h 1222690"/>
                      <a:gd name="connsiteX151" fmla="*/ 820123 w 1372780"/>
                      <a:gd name="connsiteY151" fmla="*/ 622217 h 1222690"/>
                      <a:gd name="connsiteX152" fmla="*/ 827744 w 1372780"/>
                      <a:gd name="connsiteY152" fmla="*/ 702274 h 1222690"/>
                      <a:gd name="connsiteX153" fmla="*/ 907869 w 1372780"/>
                      <a:gd name="connsiteY153" fmla="*/ 829394 h 1222690"/>
                      <a:gd name="connsiteX154" fmla="*/ 1045419 w 1372780"/>
                      <a:gd name="connsiteY154" fmla="*/ 954752 h 1222690"/>
                      <a:gd name="connsiteX155" fmla="*/ 1123563 w 1372780"/>
                      <a:gd name="connsiteY155" fmla="*/ 1023664 h 1222690"/>
                      <a:gd name="connsiteX156" fmla="*/ 1125381 w 1372780"/>
                      <a:gd name="connsiteY156" fmla="*/ 1037276 h 1222690"/>
                      <a:gd name="connsiteX157" fmla="*/ 1148194 w 1372780"/>
                      <a:gd name="connsiteY157" fmla="*/ 1042789 h 1222690"/>
                      <a:gd name="connsiteX158" fmla="*/ 1180509 w 1372780"/>
                      <a:gd name="connsiteY158" fmla="*/ 1065099 h 1222690"/>
                      <a:gd name="connsiteX159" fmla="*/ 1169920 w 1372780"/>
                      <a:gd name="connsiteY159" fmla="*/ 1213047 h 1222690"/>
                      <a:gd name="connsiteX160" fmla="*/ 1216166 w 1372780"/>
                      <a:gd name="connsiteY160" fmla="*/ 1222691 h 1222690"/>
                      <a:gd name="connsiteX161" fmla="*/ 1274367 w 1372780"/>
                      <a:gd name="connsiteY161" fmla="*/ 1114743 h 1222690"/>
                      <a:gd name="connsiteX162" fmla="*/ 1242154 w 1372780"/>
                      <a:gd name="connsiteY162" fmla="*/ 1067522 h 1222690"/>
                      <a:gd name="connsiteX163" fmla="*/ 1288020 w 1372780"/>
                      <a:gd name="connsiteY163" fmla="*/ 1020394 h 1222690"/>
                      <a:gd name="connsiteX164" fmla="*/ 1340521 w 1372780"/>
                      <a:gd name="connsiteY164" fmla="*/ 1072962 h 1222690"/>
                      <a:gd name="connsiteX165" fmla="*/ 1371443 w 1372780"/>
                      <a:gd name="connsiteY165" fmla="*/ 1034124 h 12226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</a:cxnLst>
                    <a:rect l="l" t="t" r="r" b="b"/>
                    <a:pathLst>
                      <a:path w="1372780" h="1222690">
                        <a:moveTo>
                          <a:pt x="1371443" y="1034124"/>
                        </a:moveTo>
                        <a:cubicBezTo>
                          <a:pt x="1364976" y="1014476"/>
                          <a:pt x="1345324" y="1002798"/>
                          <a:pt x="1327178" y="992867"/>
                        </a:cubicBezTo>
                        <a:cubicBezTo>
                          <a:pt x="1284299" y="969397"/>
                          <a:pt x="1241422" y="945924"/>
                          <a:pt x="1198543" y="922455"/>
                        </a:cubicBezTo>
                        <a:cubicBezTo>
                          <a:pt x="1201774" y="911729"/>
                          <a:pt x="1212996" y="904003"/>
                          <a:pt x="1224168" y="904816"/>
                        </a:cubicBezTo>
                        <a:cubicBezTo>
                          <a:pt x="1222039" y="892615"/>
                          <a:pt x="1208155" y="886037"/>
                          <a:pt x="1195781" y="885501"/>
                        </a:cubicBezTo>
                        <a:cubicBezTo>
                          <a:pt x="1183406" y="884967"/>
                          <a:pt x="1171005" y="888380"/>
                          <a:pt x="1158710" y="886883"/>
                        </a:cubicBezTo>
                        <a:cubicBezTo>
                          <a:pt x="1148334" y="885620"/>
                          <a:pt x="1138657" y="880909"/>
                          <a:pt x="1129936" y="875148"/>
                        </a:cubicBezTo>
                        <a:cubicBezTo>
                          <a:pt x="1101495" y="856363"/>
                          <a:pt x="1081495" y="825276"/>
                          <a:pt x="1076188" y="791608"/>
                        </a:cubicBezTo>
                        <a:cubicBezTo>
                          <a:pt x="1073544" y="774824"/>
                          <a:pt x="1074180" y="756871"/>
                          <a:pt x="1065883" y="742045"/>
                        </a:cubicBezTo>
                        <a:cubicBezTo>
                          <a:pt x="1047129" y="708540"/>
                          <a:pt x="990605" y="704020"/>
                          <a:pt x="983109" y="666360"/>
                        </a:cubicBezTo>
                        <a:cubicBezTo>
                          <a:pt x="980165" y="651574"/>
                          <a:pt x="986508" y="636751"/>
                          <a:pt x="989568" y="621988"/>
                        </a:cubicBezTo>
                        <a:cubicBezTo>
                          <a:pt x="992628" y="607225"/>
                          <a:pt x="990712" y="588796"/>
                          <a:pt x="977436" y="581653"/>
                        </a:cubicBezTo>
                        <a:cubicBezTo>
                          <a:pt x="1011698" y="571933"/>
                          <a:pt x="1044836" y="558426"/>
                          <a:pt x="1076358" y="541848"/>
                        </a:cubicBezTo>
                        <a:cubicBezTo>
                          <a:pt x="1082740" y="527140"/>
                          <a:pt x="1076658" y="508470"/>
                          <a:pt x="1068793" y="490298"/>
                        </a:cubicBezTo>
                        <a:cubicBezTo>
                          <a:pt x="1067855" y="488133"/>
                          <a:pt x="1066887" y="485884"/>
                          <a:pt x="1065507" y="484653"/>
                        </a:cubicBezTo>
                        <a:cubicBezTo>
                          <a:pt x="1062528" y="481976"/>
                          <a:pt x="1057978" y="483283"/>
                          <a:pt x="1050812" y="485644"/>
                        </a:cubicBezTo>
                        <a:cubicBezTo>
                          <a:pt x="1045101" y="487516"/>
                          <a:pt x="1038632" y="489613"/>
                          <a:pt x="1032150" y="488598"/>
                        </a:cubicBezTo>
                        <a:cubicBezTo>
                          <a:pt x="1026662" y="487718"/>
                          <a:pt x="1022109" y="484648"/>
                          <a:pt x="1018449" y="482193"/>
                        </a:cubicBezTo>
                        <a:lnTo>
                          <a:pt x="971929" y="450820"/>
                        </a:lnTo>
                        <a:cubicBezTo>
                          <a:pt x="966142" y="446934"/>
                          <a:pt x="960926" y="443704"/>
                          <a:pt x="955657" y="443672"/>
                        </a:cubicBezTo>
                        <a:cubicBezTo>
                          <a:pt x="950718" y="443553"/>
                          <a:pt x="945535" y="446344"/>
                          <a:pt x="940039" y="449207"/>
                        </a:cubicBezTo>
                        <a:cubicBezTo>
                          <a:pt x="931890" y="453447"/>
                          <a:pt x="922658" y="458253"/>
                          <a:pt x="912912" y="453662"/>
                        </a:cubicBezTo>
                        <a:cubicBezTo>
                          <a:pt x="910307" y="452429"/>
                          <a:pt x="908050" y="450707"/>
                          <a:pt x="905871" y="449028"/>
                        </a:cubicBezTo>
                        <a:cubicBezTo>
                          <a:pt x="902692" y="446599"/>
                          <a:pt x="900363" y="444932"/>
                          <a:pt x="899095" y="445510"/>
                        </a:cubicBezTo>
                        <a:cubicBezTo>
                          <a:pt x="897832" y="446098"/>
                          <a:pt x="897799" y="449150"/>
                          <a:pt x="897888" y="453400"/>
                        </a:cubicBezTo>
                        <a:cubicBezTo>
                          <a:pt x="898009" y="458996"/>
                          <a:pt x="898159" y="465953"/>
                          <a:pt x="892913" y="470576"/>
                        </a:cubicBezTo>
                        <a:cubicBezTo>
                          <a:pt x="885872" y="476773"/>
                          <a:pt x="877280" y="472638"/>
                          <a:pt x="871004" y="469582"/>
                        </a:cubicBezTo>
                        <a:cubicBezTo>
                          <a:pt x="867820" y="468042"/>
                          <a:pt x="865166" y="466821"/>
                          <a:pt x="863125" y="466456"/>
                        </a:cubicBezTo>
                        <a:cubicBezTo>
                          <a:pt x="864441" y="479953"/>
                          <a:pt x="858237" y="493870"/>
                          <a:pt x="846969" y="501659"/>
                        </a:cubicBezTo>
                        <a:lnTo>
                          <a:pt x="841495" y="505445"/>
                        </a:lnTo>
                        <a:lnTo>
                          <a:pt x="839040" y="499267"/>
                        </a:lnTo>
                        <a:cubicBezTo>
                          <a:pt x="835102" y="489356"/>
                          <a:pt x="828669" y="480304"/>
                          <a:pt x="820626" y="473248"/>
                        </a:cubicBezTo>
                        <a:lnTo>
                          <a:pt x="806511" y="499935"/>
                        </a:lnTo>
                        <a:lnTo>
                          <a:pt x="802079" y="489988"/>
                        </a:lnTo>
                        <a:cubicBezTo>
                          <a:pt x="799130" y="483349"/>
                          <a:pt x="792549" y="476830"/>
                          <a:pt x="788273" y="476314"/>
                        </a:cubicBezTo>
                        <a:cubicBezTo>
                          <a:pt x="787358" y="476207"/>
                          <a:pt x="786634" y="476356"/>
                          <a:pt x="785754" y="477490"/>
                        </a:cubicBezTo>
                        <a:cubicBezTo>
                          <a:pt x="784361" y="479280"/>
                          <a:pt x="784717" y="482544"/>
                          <a:pt x="785127" y="486328"/>
                        </a:cubicBezTo>
                        <a:cubicBezTo>
                          <a:pt x="785665" y="491216"/>
                          <a:pt x="786269" y="496757"/>
                          <a:pt x="783205" y="501826"/>
                        </a:cubicBezTo>
                        <a:cubicBezTo>
                          <a:pt x="780478" y="506335"/>
                          <a:pt x="775818" y="508954"/>
                          <a:pt x="770028" y="508605"/>
                        </a:cubicBezTo>
                        <a:cubicBezTo>
                          <a:pt x="762367" y="508333"/>
                          <a:pt x="754578" y="503363"/>
                          <a:pt x="751088" y="496523"/>
                        </a:cubicBezTo>
                        <a:cubicBezTo>
                          <a:pt x="748190" y="490835"/>
                          <a:pt x="747334" y="484811"/>
                          <a:pt x="746505" y="478993"/>
                        </a:cubicBezTo>
                        <a:cubicBezTo>
                          <a:pt x="745953" y="475109"/>
                          <a:pt x="745428" y="471441"/>
                          <a:pt x="744333" y="468057"/>
                        </a:cubicBezTo>
                        <a:cubicBezTo>
                          <a:pt x="742929" y="463744"/>
                          <a:pt x="739212" y="459625"/>
                          <a:pt x="735496" y="458256"/>
                        </a:cubicBezTo>
                        <a:cubicBezTo>
                          <a:pt x="734759" y="457983"/>
                          <a:pt x="734106" y="457864"/>
                          <a:pt x="733541" y="457826"/>
                        </a:cubicBezTo>
                        <a:lnTo>
                          <a:pt x="737026" y="508087"/>
                        </a:lnTo>
                        <a:lnTo>
                          <a:pt x="727614" y="500596"/>
                        </a:lnTo>
                        <a:cubicBezTo>
                          <a:pt x="723529" y="497348"/>
                          <a:pt x="716649" y="497668"/>
                          <a:pt x="712884" y="501307"/>
                        </a:cubicBezTo>
                        <a:lnTo>
                          <a:pt x="709086" y="504985"/>
                        </a:lnTo>
                        <a:lnTo>
                          <a:pt x="705401" y="501186"/>
                        </a:lnTo>
                        <a:cubicBezTo>
                          <a:pt x="692251" y="487625"/>
                          <a:pt x="669248" y="485141"/>
                          <a:pt x="653082" y="494731"/>
                        </a:cubicBezTo>
                        <a:cubicBezTo>
                          <a:pt x="650829" y="516745"/>
                          <a:pt x="646474" y="538562"/>
                          <a:pt x="639952" y="559473"/>
                        </a:cubicBezTo>
                        <a:lnTo>
                          <a:pt x="638696" y="563505"/>
                        </a:lnTo>
                        <a:lnTo>
                          <a:pt x="613087" y="561472"/>
                        </a:lnTo>
                        <a:cubicBezTo>
                          <a:pt x="612888" y="565291"/>
                          <a:pt x="616782" y="569481"/>
                          <a:pt x="624193" y="576512"/>
                        </a:cubicBezTo>
                        <a:cubicBezTo>
                          <a:pt x="632344" y="584241"/>
                          <a:pt x="641590" y="593003"/>
                          <a:pt x="640624" y="604790"/>
                        </a:cubicBezTo>
                        <a:cubicBezTo>
                          <a:pt x="640191" y="610016"/>
                          <a:pt x="637702" y="614339"/>
                          <a:pt x="635496" y="618150"/>
                        </a:cubicBezTo>
                        <a:cubicBezTo>
                          <a:pt x="634230" y="620352"/>
                          <a:pt x="633030" y="622418"/>
                          <a:pt x="632311" y="624472"/>
                        </a:cubicBezTo>
                        <a:cubicBezTo>
                          <a:pt x="630746" y="628922"/>
                          <a:pt x="631046" y="633168"/>
                          <a:pt x="633236" y="637466"/>
                        </a:cubicBezTo>
                        <a:cubicBezTo>
                          <a:pt x="639114" y="648975"/>
                          <a:pt x="656856" y="657728"/>
                          <a:pt x="670270" y="661711"/>
                        </a:cubicBezTo>
                        <a:lnTo>
                          <a:pt x="667249" y="671870"/>
                        </a:lnTo>
                        <a:cubicBezTo>
                          <a:pt x="659407" y="669531"/>
                          <a:pt x="633104" y="660501"/>
                          <a:pt x="623802" y="642275"/>
                        </a:cubicBezTo>
                        <a:cubicBezTo>
                          <a:pt x="620275" y="635371"/>
                          <a:pt x="619777" y="628196"/>
                          <a:pt x="622314" y="620969"/>
                        </a:cubicBezTo>
                        <a:cubicBezTo>
                          <a:pt x="623363" y="617982"/>
                          <a:pt x="624869" y="615374"/>
                          <a:pt x="626325" y="612850"/>
                        </a:cubicBezTo>
                        <a:cubicBezTo>
                          <a:pt x="628132" y="609732"/>
                          <a:pt x="629836" y="606783"/>
                          <a:pt x="630069" y="603916"/>
                        </a:cubicBezTo>
                        <a:cubicBezTo>
                          <a:pt x="630619" y="597188"/>
                          <a:pt x="623649" y="590581"/>
                          <a:pt x="616910" y="584198"/>
                        </a:cubicBezTo>
                        <a:cubicBezTo>
                          <a:pt x="608207" y="575947"/>
                          <a:pt x="597373" y="565675"/>
                          <a:pt x="604964" y="553134"/>
                        </a:cubicBezTo>
                        <a:lnTo>
                          <a:pt x="606654" y="550328"/>
                        </a:lnTo>
                        <a:lnTo>
                          <a:pt x="631073" y="552277"/>
                        </a:lnTo>
                        <a:cubicBezTo>
                          <a:pt x="641226" y="518079"/>
                          <a:pt x="645643" y="481547"/>
                          <a:pt x="643955" y="445876"/>
                        </a:cubicBezTo>
                        <a:lnTo>
                          <a:pt x="602561" y="467305"/>
                        </a:lnTo>
                        <a:lnTo>
                          <a:pt x="600447" y="461768"/>
                        </a:lnTo>
                        <a:cubicBezTo>
                          <a:pt x="594570" y="446402"/>
                          <a:pt x="609671" y="431879"/>
                          <a:pt x="614635" y="427105"/>
                        </a:cubicBezTo>
                        <a:lnTo>
                          <a:pt x="671682" y="372223"/>
                        </a:lnTo>
                        <a:lnTo>
                          <a:pt x="699394" y="370589"/>
                        </a:lnTo>
                        <a:cubicBezTo>
                          <a:pt x="698533" y="322707"/>
                          <a:pt x="720148" y="274760"/>
                          <a:pt x="756699" y="243787"/>
                        </a:cubicBezTo>
                        <a:cubicBezTo>
                          <a:pt x="756416" y="242331"/>
                          <a:pt x="755654" y="241004"/>
                          <a:pt x="754414" y="239761"/>
                        </a:cubicBezTo>
                        <a:cubicBezTo>
                          <a:pt x="750537" y="235890"/>
                          <a:pt x="742396" y="233449"/>
                          <a:pt x="735062" y="234062"/>
                        </a:cubicBezTo>
                        <a:cubicBezTo>
                          <a:pt x="732983" y="234224"/>
                          <a:pt x="730867" y="234456"/>
                          <a:pt x="728727" y="234690"/>
                        </a:cubicBezTo>
                        <a:cubicBezTo>
                          <a:pt x="717606" y="235890"/>
                          <a:pt x="704994" y="237277"/>
                          <a:pt x="695444" y="229230"/>
                        </a:cubicBezTo>
                        <a:cubicBezTo>
                          <a:pt x="688017" y="222977"/>
                          <a:pt x="685980" y="214034"/>
                          <a:pt x="684011" y="205392"/>
                        </a:cubicBezTo>
                        <a:cubicBezTo>
                          <a:pt x="682600" y="199175"/>
                          <a:pt x="681261" y="193297"/>
                          <a:pt x="678019" y="188982"/>
                        </a:cubicBezTo>
                        <a:cubicBezTo>
                          <a:pt x="671405" y="180161"/>
                          <a:pt x="659527" y="179676"/>
                          <a:pt x="645771" y="179114"/>
                        </a:cubicBezTo>
                        <a:cubicBezTo>
                          <a:pt x="637162" y="178765"/>
                          <a:pt x="628255" y="178402"/>
                          <a:pt x="620046" y="175784"/>
                        </a:cubicBezTo>
                        <a:cubicBezTo>
                          <a:pt x="602810" y="170298"/>
                          <a:pt x="586341" y="153215"/>
                          <a:pt x="578325" y="139674"/>
                        </a:cubicBezTo>
                        <a:cubicBezTo>
                          <a:pt x="575422" y="134773"/>
                          <a:pt x="574165" y="128276"/>
                          <a:pt x="572829" y="121398"/>
                        </a:cubicBezTo>
                        <a:cubicBezTo>
                          <a:pt x="571194" y="112976"/>
                          <a:pt x="569344" y="103434"/>
                          <a:pt x="564471" y="101063"/>
                        </a:cubicBezTo>
                        <a:cubicBezTo>
                          <a:pt x="561724" y="99729"/>
                          <a:pt x="557877" y="100245"/>
                          <a:pt x="553793" y="100788"/>
                        </a:cubicBezTo>
                        <a:lnTo>
                          <a:pt x="551345" y="101101"/>
                        </a:lnTo>
                        <a:cubicBezTo>
                          <a:pt x="542318" y="102166"/>
                          <a:pt x="532921" y="101378"/>
                          <a:pt x="524193" y="98797"/>
                        </a:cubicBezTo>
                        <a:cubicBezTo>
                          <a:pt x="521549" y="98018"/>
                          <a:pt x="518521" y="96889"/>
                          <a:pt x="516187" y="94415"/>
                        </a:cubicBezTo>
                        <a:cubicBezTo>
                          <a:pt x="512881" y="90907"/>
                          <a:pt x="512380" y="86267"/>
                          <a:pt x="512053" y="83203"/>
                        </a:cubicBezTo>
                        <a:lnTo>
                          <a:pt x="510191" y="66036"/>
                        </a:lnTo>
                        <a:cubicBezTo>
                          <a:pt x="510052" y="64755"/>
                          <a:pt x="509731" y="61752"/>
                          <a:pt x="508830" y="61051"/>
                        </a:cubicBezTo>
                        <a:cubicBezTo>
                          <a:pt x="508454" y="60759"/>
                          <a:pt x="507439" y="60458"/>
                          <a:pt x="506542" y="60189"/>
                        </a:cubicBezTo>
                        <a:cubicBezTo>
                          <a:pt x="505894" y="59998"/>
                          <a:pt x="505252" y="59807"/>
                          <a:pt x="504625" y="59584"/>
                        </a:cubicBezTo>
                        <a:cubicBezTo>
                          <a:pt x="495395" y="56287"/>
                          <a:pt x="490640" y="47718"/>
                          <a:pt x="486564" y="39219"/>
                        </a:cubicBezTo>
                        <a:cubicBezTo>
                          <a:pt x="484682" y="35297"/>
                          <a:pt x="482922" y="30967"/>
                          <a:pt x="481131" y="26532"/>
                        </a:cubicBezTo>
                        <a:cubicBezTo>
                          <a:pt x="477513" y="17608"/>
                          <a:pt x="473776" y="8375"/>
                          <a:pt x="468619" y="1917"/>
                        </a:cubicBezTo>
                        <a:lnTo>
                          <a:pt x="471019" y="0"/>
                        </a:lnTo>
                        <a:cubicBezTo>
                          <a:pt x="462066" y="2001"/>
                          <a:pt x="453755" y="4916"/>
                          <a:pt x="445282" y="10579"/>
                        </a:cubicBezTo>
                        <a:cubicBezTo>
                          <a:pt x="417744" y="28978"/>
                          <a:pt x="397014" y="61133"/>
                          <a:pt x="373779" y="84789"/>
                        </a:cubicBezTo>
                        <a:cubicBezTo>
                          <a:pt x="366483" y="92219"/>
                          <a:pt x="359010" y="99621"/>
                          <a:pt x="350185" y="105150"/>
                        </a:cubicBezTo>
                        <a:cubicBezTo>
                          <a:pt x="314271" y="127646"/>
                          <a:pt x="261631" y="110275"/>
                          <a:pt x="241286" y="73102"/>
                        </a:cubicBezTo>
                        <a:cubicBezTo>
                          <a:pt x="239880" y="70535"/>
                          <a:pt x="238545" y="67823"/>
                          <a:pt x="236294" y="65957"/>
                        </a:cubicBezTo>
                        <a:cubicBezTo>
                          <a:pt x="229806" y="60578"/>
                          <a:pt x="219205" y="65473"/>
                          <a:pt x="215546" y="73062"/>
                        </a:cubicBezTo>
                        <a:cubicBezTo>
                          <a:pt x="211887" y="80654"/>
                          <a:pt x="212911" y="89540"/>
                          <a:pt x="213419" y="97952"/>
                        </a:cubicBezTo>
                        <a:cubicBezTo>
                          <a:pt x="213927" y="106365"/>
                          <a:pt x="213521" y="115658"/>
                          <a:pt x="207872" y="121909"/>
                        </a:cubicBezTo>
                        <a:cubicBezTo>
                          <a:pt x="199319" y="131370"/>
                          <a:pt x="184122" y="128863"/>
                          <a:pt x="171795" y="125586"/>
                        </a:cubicBezTo>
                        <a:cubicBezTo>
                          <a:pt x="116398" y="110864"/>
                          <a:pt x="59829" y="94486"/>
                          <a:pt x="1846" y="99997"/>
                        </a:cubicBezTo>
                        <a:cubicBezTo>
                          <a:pt x="12427" y="108149"/>
                          <a:pt x="23007" y="116301"/>
                          <a:pt x="33588" y="124453"/>
                        </a:cubicBezTo>
                        <a:cubicBezTo>
                          <a:pt x="22392" y="136122"/>
                          <a:pt x="11195" y="147790"/>
                          <a:pt x="0" y="159457"/>
                        </a:cubicBezTo>
                        <a:cubicBezTo>
                          <a:pt x="36814" y="168313"/>
                          <a:pt x="71557" y="185651"/>
                          <a:pt x="100770" y="209741"/>
                        </a:cubicBezTo>
                        <a:cubicBezTo>
                          <a:pt x="112499" y="219415"/>
                          <a:pt x="124347" y="233518"/>
                          <a:pt x="120099" y="248118"/>
                        </a:cubicBezTo>
                        <a:cubicBezTo>
                          <a:pt x="131041" y="248026"/>
                          <a:pt x="138660" y="260423"/>
                          <a:pt x="137719" y="271325"/>
                        </a:cubicBezTo>
                        <a:cubicBezTo>
                          <a:pt x="136779" y="282225"/>
                          <a:pt x="129989" y="291617"/>
                          <a:pt x="123442" y="300385"/>
                        </a:cubicBezTo>
                        <a:cubicBezTo>
                          <a:pt x="135053" y="321154"/>
                          <a:pt x="159193" y="334217"/>
                          <a:pt x="182929" y="332578"/>
                        </a:cubicBezTo>
                        <a:cubicBezTo>
                          <a:pt x="172443" y="372068"/>
                          <a:pt x="168598" y="413313"/>
                          <a:pt x="171605" y="454061"/>
                        </a:cubicBezTo>
                        <a:cubicBezTo>
                          <a:pt x="166427" y="442747"/>
                          <a:pt x="161254" y="431431"/>
                          <a:pt x="156075" y="420117"/>
                        </a:cubicBezTo>
                        <a:cubicBezTo>
                          <a:pt x="159216" y="458548"/>
                          <a:pt x="132565" y="492299"/>
                          <a:pt x="107465" y="521569"/>
                        </a:cubicBezTo>
                        <a:cubicBezTo>
                          <a:pt x="93793" y="537509"/>
                          <a:pt x="79218" y="554090"/>
                          <a:pt x="59465" y="561214"/>
                        </a:cubicBezTo>
                        <a:cubicBezTo>
                          <a:pt x="51090" y="564234"/>
                          <a:pt x="42358" y="565314"/>
                          <a:pt x="33541" y="565076"/>
                        </a:cubicBezTo>
                        <a:cubicBezTo>
                          <a:pt x="55636" y="576670"/>
                          <a:pt x="78211" y="592752"/>
                          <a:pt x="81150" y="617106"/>
                        </a:cubicBezTo>
                        <a:lnTo>
                          <a:pt x="102586" y="617670"/>
                        </a:lnTo>
                        <a:cubicBezTo>
                          <a:pt x="105544" y="617753"/>
                          <a:pt x="109611" y="617855"/>
                          <a:pt x="113302" y="619897"/>
                        </a:cubicBezTo>
                        <a:cubicBezTo>
                          <a:pt x="117343" y="622153"/>
                          <a:pt x="119586" y="625964"/>
                          <a:pt x="121392" y="629021"/>
                        </a:cubicBezTo>
                        <a:cubicBezTo>
                          <a:pt x="131349" y="645796"/>
                          <a:pt x="146042" y="659204"/>
                          <a:pt x="163092" y="667318"/>
                        </a:cubicBezTo>
                        <a:cubicBezTo>
                          <a:pt x="189098" y="679712"/>
                          <a:pt x="220016" y="680028"/>
                          <a:pt x="247293" y="680299"/>
                        </a:cubicBezTo>
                        <a:lnTo>
                          <a:pt x="250543" y="680337"/>
                        </a:lnTo>
                        <a:lnTo>
                          <a:pt x="251985" y="683241"/>
                        </a:lnTo>
                        <a:cubicBezTo>
                          <a:pt x="256807" y="692970"/>
                          <a:pt x="257994" y="704379"/>
                          <a:pt x="255459" y="714907"/>
                        </a:cubicBezTo>
                        <a:cubicBezTo>
                          <a:pt x="259442" y="713656"/>
                          <a:pt x="263797" y="710190"/>
                          <a:pt x="267534" y="707225"/>
                        </a:cubicBezTo>
                        <a:cubicBezTo>
                          <a:pt x="276798" y="699832"/>
                          <a:pt x="289652" y="696074"/>
                          <a:pt x="297413" y="704364"/>
                        </a:cubicBezTo>
                        <a:lnTo>
                          <a:pt x="298700" y="705730"/>
                        </a:lnTo>
                        <a:lnTo>
                          <a:pt x="299668" y="719551"/>
                        </a:lnTo>
                        <a:cubicBezTo>
                          <a:pt x="304782" y="722059"/>
                          <a:pt x="311246" y="722154"/>
                          <a:pt x="318038" y="722259"/>
                        </a:cubicBezTo>
                        <a:cubicBezTo>
                          <a:pt x="320567" y="722303"/>
                          <a:pt x="323091" y="722336"/>
                          <a:pt x="325564" y="722494"/>
                        </a:cubicBezTo>
                        <a:cubicBezTo>
                          <a:pt x="334281" y="723049"/>
                          <a:pt x="343137" y="726455"/>
                          <a:pt x="348559" y="732266"/>
                        </a:cubicBezTo>
                        <a:cubicBezTo>
                          <a:pt x="351167" y="723343"/>
                          <a:pt x="353751" y="714397"/>
                          <a:pt x="357829" y="706091"/>
                        </a:cubicBezTo>
                        <a:cubicBezTo>
                          <a:pt x="373342" y="674484"/>
                          <a:pt x="410478" y="656179"/>
                          <a:pt x="445528" y="659501"/>
                        </a:cubicBezTo>
                        <a:cubicBezTo>
                          <a:pt x="480581" y="662822"/>
                          <a:pt x="512264" y="685823"/>
                          <a:pt x="529789" y="716360"/>
                        </a:cubicBezTo>
                        <a:cubicBezTo>
                          <a:pt x="529935" y="716300"/>
                          <a:pt x="530033" y="716232"/>
                          <a:pt x="530174" y="716172"/>
                        </a:cubicBezTo>
                        <a:cubicBezTo>
                          <a:pt x="530140" y="718679"/>
                          <a:pt x="529996" y="721208"/>
                          <a:pt x="530857" y="723539"/>
                        </a:cubicBezTo>
                        <a:cubicBezTo>
                          <a:pt x="532791" y="728776"/>
                          <a:pt x="538889" y="730933"/>
                          <a:pt x="544262" y="732449"/>
                        </a:cubicBezTo>
                        <a:cubicBezTo>
                          <a:pt x="553643" y="735099"/>
                          <a:pt x="563327" y="737774"/>
                          <a:pt x="573009" y="736625"/>
                        </a:cubicBezTo>
                        <a:cubicBezTo>
                          <a:pt x="582689" y="735476"/>
                          <a:pt x="592480" y="729528"/>
                          <a:pt x="595110" y="720140"/>
                        </a:cubicBezTo>
                        <a:cubicBezTo>
                          <a:pt x="590055" y="709009"/>
                          <a:pt x="613151" y="695225"/>
                          <a:pt x="625372" y="695535"/>
                        </a:cubicBezTo>
                        <a:cubicBezTo>
                          <a:pt x="637595" y="695846"/>
                          <a:pt x="652488" y="698303"/>
                          <a:pt x="659700" y="688431"/>
                        </a:cubicBezTo>
                        <a:cubicBezTo>
                          <a:pt x="662546" y="684537"/>
                          <a:pt x="663386" y="679443"/>
                          <a:pt x="666286" y="675589"/>
                        </a:cubicBezTo>
                        <a:cubicBezTo>
                          <a:pt x="672672" y="667099"/>
                          <a:pt x="685320" y="668090"/>
                          <a:pt x="695907" y="667176"/>
                        </a:cubicBezTo>
                        <a:cubicBezTo>
                          <a:pt x="706493" y="666263"/>
                          <a:pt x="719292" y="657746"/>
                          <a:pt x="715232" y="647928"/>
                        </a:cubicBezTo>
                        <a:cubicBezTo>
                          <a:pt x="736653" y="638216"/>
                          <a:pt x="760282" y="637095"/>
                          <a:pt x="775444" y="655078"/>
                        </a:cubicBezTo>
                        <a:cubicBezTo>
                          <a:pt x="780346" y="635649"/>
                          <a:pt x="800116" y="621111"/>
                          <a:pt x="820123" y="622217"/>
                        </a:cubicBezTo>
                        <a:cubicBezTo>
                          <a:pt x="815657" y="648920"/>
                          <a:pt x="819178" y="676590"/>
                          <a:pt x="827744" y="702274"/>
                        </a:cubicBezTo>
                        <a:cubicBezTo>
                          <a:pt x="843687" y="750064"/>
                          <a:pt x="876096" y="790299"/>
                          <a:pt x="907869" y="829394"/>
                        </a:cubicBezTo>
                        <a:cubicBezTo>
                          <a:pt x="947344" y="877971"/>
                          <a:pt x="988777" y="928113"/>
                          <a:pt x="1045419" y="954752"/>
                        </a:cubicBezTo>
                        <a:cubicBezTo>
                          <a:pt x="1078839" y="970470"/>
                          <a:pt x="1123634" y="986729"/>
                          <a:pt x="1123563" y="1023664"/>
                        </a:cubicBezTo>
                        <a:cubicBezTo>
                          <a:pt x="1123553" y="1028318"/>
                          <a:pt x="1122826" y="1033384"/>
                          <a:pt x="1125381" y="1037276"/>
                        </a:cubicBezTo>
                        <a:cubicBezTo>
                          <a:pt x="1129869" y="1044101"/>
                          <a:pt x="1140049" y="1042146"/>
                          <a:pt x="1148194" y="1042789"/>
                        </a:cubicBezTo>
                        <a:cubicBezTo>
                          <a:pt x="1161677" y="1043854"/>
                          <a:pt x="1172667" y="1054080"/>
                          <a:pt x="1180509" y="1065099"/>
                        </a:cubicBezTo>
                        <a:cubicBezTo>
                          <a:pt x="1211585" y="1108766"/>
                          <a:pt x="1206898" y="1174253"/>
                          <a:pt x="1169920" y="1213047"/>
                        </a:cubicBezTo>
                        <a:cubicBezTo>
                          <a:pt x="1185336" y="1216261"/>
                          <a:pt x="1200750" y="1219476"/>
                          <a:pt x="1216166" y="1222691"/>
                        </a:cubicBezTo>
                        <a:cubicBezTo>
                          <a:pt x="1206113" y="1180737"/>
                          <a:pt x="1284886" y="1156584"/>
                          <a:pt x="1274367" y="1114743"/>
                        </a:cubicBezTo>
                        <a:cubicBezTo>
                          <a:pt x="1269673" y="1096077"/>
                          <a:pt x="1248228" y="1085788"/>
                          <a:pt x="1242154" y="1067522"/>
                        </a:cubicBezTo>
                        <a:cubicBezTo>
                          <a:pt x="1233884" y="1042665"/>
                          <a:pt x="1262066" y="1016834"/>
                          <a:pt x="1288020" y="1020394"/>
                        </a:cubicBezTo>
                        <a:cubicBezTo>
                          <a:pt x="1313973" y="1023956"/>
                          <a:pt x="1333157" y="1047822"/>
                          <a:pt x="1340521" y="1072962"/>
                        </a:cubicBezTo>
                        <a:cubicBezTo>
                          <a:pt x="1359828" y="1080384"/>
                          <a:pt x="1377912" y="1053771"/>
                          <a:pt x="1371443" y="1034124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sp>
              <p:nvSpPr>
                <p:cNvPr id="210" name="Forma libre 209">
                  <a:extLst>
                    <a:ext uri="{FF2B5EF4-FFF2-40B4-BE49-F238E27FC236}">
                      <a16:creationId xmlns:a16="http://schemas.microsoft.com/office/drawing/2014/main" id="{D0496A11-E240-BA46-B212-1E22217B2292}"/>
                    </a:ext>
                  </a:extLst>
                </p:cNvPr>
                <p:cNvSpPr/>
                <p:nvPr/>
              </p:nvSpPr>
              <p:spPr>
                <a:xfrm>
                  <a:off x="5200238" y="3125272"/>
                  <a:ext cx="271098" cy="142588"/>
                </a:xfrm>
                <a:custGeom>
                  <a:avLst/>
                  <a:gdLst>
                    <a:gd name="connsiteX0" fmla="*/ 268915 w 271098"/>
                    <a:gd name="connsiteY0" fmla="*/ 103012 h 142588"/>
                    <a:gd name="connsiteX1" fmla="*/ 269974 w 271098"/>
                    <a:gd name="connsiteY1" fmla="*/ 100863 h 142588"/>
                    <a:gd name="connsiteX2" fmla="*/ 271099 w 271098"/>
                    <a:gd name="connsiteY2" fmla="*/ 98299 h 142588"/>
                    <a:gd name="connsiteX3" fmla="*/ 266834 w 271098"/>
                    <a:gd name="connsiteY3" fmla="*/ 97165 h 142588"/>
                    <a:gd name="connsiteX4" fmla="*/ 265550 w 271098"/>
                    <a:gd name="connsiteY4" fmla="*/ 96832 h 142588"/>
                    <a:gd name="connsiteX5" fmla="*/ 235192 w 271098"/>
                    <a:gd name="connsiteY5" fmla="*/ 62929 h 142588"/>
                    <a:gd name="connsiteX6" fmla="*/ 232212 w 271098"/>
                    <a:gd name="connsiteY6" fmla="*/ 56807 h 142588"/>
                    <a:gd name="connsiteX7" fmla="*/ 207705 w 271098"/>
                    <a:gd name="connsiteY7" fmla="*/ 24286 h 142588"/>
                    <a:gd name="connsiteX8" fmla="*/ 199339 w 271098"/>
                    <a:gd name="connsiteY8" fmla="*/ 18835 h 142588"/>
                    <a:gd name="connsiteX9" fmla="*/ 195311 w 271098"/>
                    <a:gd name="connsiteY9" fmla="*/ 18379 h 142588"/>
                    <a:gd name="connsiteX10" fmla="*/ 188986 w 271098"/>
                    <a:gd name="connsiteY10" fmla="*/ 17516 h 142588"/>
                    <a:gd name="connsiteX11" fmla="*/ 178353 w 271098"/>
                    <a:gd name="connsiteY11" fmla="*/ 11753 h 142588"/>
                    <a:gd name="connsiteX12" fmla="*/ 169928 w 271098"/>
                    <a:gd name="connsiteY12" fmla="*/ 7617 h 142588"/>
                    <a:gd name="connsiteX13" fmla="*/ 163910 w 271098"/>
                    <a:gd name="connsiteY13" fmla="*/ 9689 h 142588"/>
                    <a:gd name="connsiteX14" fmla="*/ 151618 w 271098"/>
                    <a:gd name="connsiteY14" fmla="*/ 12605 h 142588"/>
                    <a:gd name="connsiteX15" fmla="*/ 142419 w 271098"/>
                    <a:gd name="connsiteY15" fmla="*/ 8568 h 142588"/>
                    <a:gd name="connsiteX16" fmla="*/ 141509 w 271098"/>
                    <a:gd name="connsiteY16" fmla="*/ 7976 h 142588"/>
                    <a:gd name="connsiteX17" fmla="*/ 100254 w 271098"/>
                    <a:gd name="connsiteY17" fmla="*/ 1806 h 142588"/>
                    <a:gd name="connsiteX18" fmla="*/ 100044 w 271098"/>
                    <a:gd name="connsiteY18" fmla="*/ 19839 h 142588"/>
                    <a:gd name="connsiteX19" fmla="*/ 100323 w 271098"/>
                    <a:gd name="connsiteY19" fmla="*/ 25092 h 142588"/>
                    <a:gd name="connsiteX20" fmla="*/ 66097 w 271098"/>
                    <a:gd name="connsiteY20" fmla="*/ 27128 h 142588"/>
                    <a:gd name="connsiteX21" fmla="*/ 11866 w 271098"/>
                    <a:gd name="connsiteY21" fmla="*/ 79299 h 142588"/>
                    <a:gd name="connsiteX22" fmla="*/ 0 w 271098"/>
                    <a:gd name="connsiteY22" fmla="*/ 96031 h 142588"/>
                    <a:gd name="connsiteX23" fmla="*/ 43339 w 271098"/>
                    <a:gd name="connsiteY23" fmla="*/ 73592 h 142588"/>
                    <a:gd name="connsiteX24" fmla="*/ 43926 w 271098"/>
                    <a:gd name="connsiteY24" fmla="*/ 81594 h 142588"/>
                    <a:gd name="connsiteX25" fmla="*/ 44059 w 271098"/>
                    <a:gd name="connsiteY25" fmla="*/ 126920 h 142588"/>
                    <a:gd name="connsiteX26" fmla="*/ 99512 w 271098"/>
                    <a:gd name="connsiteY26" fmla="*/ 135189 h 142588"/>
                    <a:gd name="connsiteX27" fmla="*/ 114921 w 271098"/>
                    <a:gd name="connsiteY27" fmla="*/ 132716 h 142588"/>
                    <a:gd name="connsiteX28" fmla="*/ 112358 w 271098"/>
                    <a:gd name="connsiteY28" fmla="*/ 95749 h 142588"/>
                    <a:gd name="connsiteX29" fmla="*/ 115076 w 271098"/>
                    <a:gd name="connsiteY29" fmla="*/ 94072 h 142588"/>
                    <a:gd name="connsiteX30" fmla="*/ 129029 w 271098"/>
                    <a:gd name="connsiteY30" fmla="*/ 92860 h 142588"/>
                    <a:gd name="connsiteX31" fmla="*/ 144295 w 271098"/>
                    <a:gd name="connsiteY31" fmla="*/ 109348 h 142588"/>
                    <a:gd name="connsiteX32" fmla="*/ 146883 w 271098"/>
                    <a:gd name="connsiteY32" fmla="*/ 122050 h 142588"/>
                    <a:gd name="connsiteX33" fmla="*/ 150419 w 271098"/>
                    <a:gd name="connsiteY33" fmla="*/ 136265 h 142588"/>
                    <a:gd name="connsiteX34" fmla="*/ 160306 w 271098"/>
                    <a:gd name="connsiteY34" fmla="*/ 142573 h 142588"/>
                    <a:gd name="connsiteX35" fmla="*/ 164040 w 271098"/>
                    <a:gd name="connsiteY35" fmla="*/ 140901 h 142588"/>
                    <a:gd name="connsiteX36" fmla="*/ 164495 w 271098"/>
                    <a:gd name="connsiteY36" fmla="*/ 132032 h 142588"/>
                    <a:gd name="connsiteX37" fmla="*/ 167282 w 271098"/>
                    <a:gd name="connsiteY37" fmla="*/ 115545 h 142588"/>
                    <a:gd name="connsiteX38" fmla="*/ 179444 w 271098"/>
                    <a:gd name="connsiteY38" fmla="*/ 110345 h 142588"/>
                    <a:gd name="connsiteX39" fmla="*/ 196454 w 271098"/>
                    <a:gd name="connsiteY39" fmla="*/ 121740 h 142588"/>
                    <a:gd name="connsiteX40" fmla="*/ 206988 w 271098"/>
                    <a:gd name="connsiteY40" fmla="*/ 101812 h 142588"/>
                    <a:gd name="connsiteX41" fmla="*/ 211929 w 271098"/>
                    <a:gd name="connsiteY41" fmla="*/ 105396 h 142588"/>
                    <a:gd name="connsiteX42" fmla="*/ 235681 w 271098"/>
                    <a:gd name="connsiteY42" fmla="*/ 133122 h 142588"/>
                    <a:gd name="connsiteX43" fmla="*/ 241842 w 271098"/>
                    <a:gd name="connsiteY43" fmla="*/ 108314 h 142588"/>
                    <a:gd name="connsiteX44" fmla="*/ 240955 w 271098"/>
                    <a:gd name="connsiteY44" fmla="*/ 104775 h 142588"/>
                    <a:gd name="connsiteX45" fmla="*/ 243949 w 271098"/>
                    <a:gd name="connsiteY45" fmla="*/ 102694 h 142588"/>
                    <a:gd name="connsiteX46" fmla="*/ 265502 w 271098"/>
                    <a:gd name="connsiteY46" fmla="*/ 104600 h 142588"/>
                    <a:gd name="connsiteX47" fmla="*/ 268090 w 271098"/>
                    <a:gd name="connsiteY47" fmla="*/ 105808 h 142588"/>
                    <a:gd name="connsiteX48" fmla="*/ 268915 w 271098"/>
                    <a:gd name="connsiteY48" fmla="*/ 103012 h 142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271098" h="142588">
                      <a:moveTo>
                        <a:pt x="268915" y="103012"/>
                      </a:moveTo>
                      <a:cubicBezTo>
                        <a:pt x="269234" y="102295"/>
                        <a:pt x="269602" y="101581"/>
                        <a:pt x="269974" y="100863"/>
                      </a:cubicBezTo>
                      <a:cubicBezTo>
                        <a:pt x="270388" y="100085"/>
                        <a:pt x="271076" y="98767"/>
                        <a:pt x="271099" y="98299"/>
                      </a:cubicBezTo>
                      <a:cubicBezTo>
                        <a:pt x="270695" y="98128"/>
                        <a:pt x="268181" y="97495"/>
                        <a:pt x="266834" y="97165"/>
                      </a:cubicBezTo>
                      <a:lnTo>
                        <a:pt x="265550" y="96832"/>
                      </a:lnTo>
                      <a:cubicBezTo>
                        <a:pt x="249404" y="92600"/>
                        <a:pt x="241853" y="76842"/>
                        <a:pt x="235192" y="62929"/>
                      </a:cubicBezTo>
                      <a:cubicBezTo>
                        <a:pt x="234199" y="60846"/>
                        <a:pt x="233212" y="58796"/>
                        <a:pt x="232212" y="56807"/>
                      </a:cubicBezTo>
                      <a:cubicBezTo>
                        <a:pt x="226040" y="44535"/>
                        <a:pt x="217793" y="33591"/>
                        <a:pt x="207705" y="24286"/>
                      </a:cubicBezTo>
                      <a:cubicBezTo>
                        <a:pt x="205102" y="21885"/>
                        <a:pt x="202281" y="19557"/>
                        <a:pt x="199339" y="18835"/>
                      </a:cubicBezTo>
                      <a:cubicBezTo>
                        <a:pt x="198028" y="18524"/>
                        <a:pt x="196668" y="18461"/>
                        <a:pt x="195311" y="18379"/>
                      </a:cubicBezTo>
                      <a:cubicBezTo>
                        <a:pt x="193176" y="18240"/>
                        <a:pt x="191050" y="18080"/>
                        <a:pt x="188986" y="17516"/>
                      </a:cubicBezTo>
                      <a:cubicBezTo>
                        <a:pt x="184805" y="16410"/>
                        <a:pt x="181378" y="13934"/>
                        <a:pt x="178353" y="11753"/>
                      </a:cubicBezTo>
                      <a:cubicBezTo>
                        <a:pt x="175224" y="9491"/>
                        <a:pt x="172528" y="7454"/>
                        <a:pt x="169928" y="7617"/>
                      </a:cubicBezTo>
                      <a:cubicBezTo>
                        <a:pt x="168196" y="7660"/>
                        <a:pt x="166115" y="8649"/>
                        <a:pt x="163910" y="9689"/>
                      </a:cubicBezTo>
                      <a:cubicBezTo>
                        <a:pt x="160395" y="11361"/>
                        <a:pt x="156427" y="13230"/>
                        <a:pt x="151618" y="12605"/>
                      </a:cubicBezTo>
                      <a:cubicBezTo>
                        <a:pt x="147844" y="12106"/>
                        <a:pt x="144836" y="10144"/>
                        <a:pt x="142419" y="8568"/>
                      </a:cubicBezTo>
                      <a:lnTo>
                        <a:pt x="141509" y="7976"/>
                      </a:lnTo>
                      <a:cubicBezTo>
                        <a:pt x="129437" y="226"/>
                        <a:pt x="114089" y="-1974"/>
                        <a:pt x="100254" y="1806"/>
                      </a:cubicBezTo>
                      <a:cubicBezTo>
                        <a:pt x="99819" y="7805"/>
                        <a:pt x="99730" y="13827"/>
                        <a:pt x="100044" y="19839"/>
                      </a:cubicBezTo>
                      <a:lnTo>
                        <a:pt x="100323" y="25092"/>
                      </a:lnTo>
                      <a:lnTo>
                        <a:pt x="66097" y="27128"/>
                      </a:lnTo>
                      <a:lnTo>
                        <a:pt x="11866" y="79299"/>
                      </a:lnTo>
                      <a:cubicBezTo>
                        <a:pt x="5140" y="85764"/>
                        <a:pt x="1203" y="91306"/>
                        <a:pt x="0" y="96031"/>
                      </a:cubicBezTo>
                      <a:lnTo>
                        <a:pt x="43339" y="73592"/>
                      </a:lnTo>
                      <a:lnTo>
                        <a:pt x="43926" y="81594"/>
                      </a:lnTo>
                      <a:cubicBezTo>
                        <a:pt x="45025" y="96588"/>
                        <a:pt x="45047" y="111771"/>
                        <a:pt x="44059" y="126920"/>
                      </a:cubicBezTo>
                      <a:cubicBezTo>
                        <a:pt x="62245" y="119421"/>
                        <a:pt x="84429" y="122350"/>
                        <a:pt x="99512" y="135189"/>
                      </a:cubicBezTo>
                      <a:cubicBezTo>
                        <a:pt x="104126" y="132569"/>
                        <a:pt x="109690" y="131720"/>
                        <a:pt x="114921" y="132716"/>
                      </a:cubicBezTo>
                      <a:lnTo>
                        <a:pt x="112358" y="95749"/>
                      </a:lnTo>
                      <a:lnTo>
                        <a:pt x="115076" y="94072"/>
                      </a:lnTo>
                      <a:cubicBezTo>
                        <a:pt x="119197" y="91497"/>
                        <a:pt x="124159" y="91067"/>
                        <a:pt x="129029" y="92860"/>
                      </a:cubicBezTo>
                      <a:cubicBezTo>
                        <a:pt x="135761" y="95335"/>
                        <a:pt x="141898" y="101951"/>
                        <a:pt x="144295" y="109348"/>
                      </a:cubicBezTo>
                      <a:cubicBezTo>
                        <a:pt x="145678" y="113588"/>
                        <a:pt x="146288" y="117897"/>
                        <a:pt x="146883" y="122050"/>
                      </a:cubicBezTo>
                      <a:cubicBezTo>
                        <a:pt x="147618" y="127246"/>
                        <a:pt x="148317" y="132144"/>
                        <a:pt x="150419" y="136265"/>
                      </a:cubicBezTo>
                      <a:cubicBezTo>
                        <a:pt x="152124" y="139614"/>
                        <a:pt x="156557" y="142446"/>
                        <a:pt x="160306" y="142573"/>
                      </a:cubicBezTo>
                      <a:cubicBezTo>
                        <a:pt x="162940" y="142749"/>
                        <a:pt x="163748" y="141389"/>
                        <a:pt x="164040" y="140901"/>
                      </a:cubicBezTo>
                      <a:cubicBezTo>
                        <a:pt x="165243" y="138895"/>
                        <a:pt x="164879" y="135568"/>
                        <a:pt x="164495" y="132032"/>
                      </a:cubicBezTo>
                      <a:cubicBezTo>
                        <a:pt x="163944" y="126989"/>
                        <a:pt x="163257" y="120728"/>
                        <a:pt x="167282" y="115545"/>
                      </a:cubicBezTo>
                      <a:cubicBezTo>
                        <a:pt x="170339" y="111601"/>
                        <a:pt x="174723" y="109842"/>
                        <a:pt x="179444" y="110345"/>
                      </a:cubicBezTo>
                      <a:cubicBezTo>
                        <a:pt x="185680" y="111105"/>
                        <a:pt x="191886" y="115950"/>
                        <a:pt x="196454" y="121740"/>
                      </a:cubicBezTo>
                      <a:lnTo>
                        <a:pt x="206988" y="101812"/>
                      </a:lnTo>
                      <a:lnTo>
                        <a:pt x="211929" y="105396"/>
                      </a:lnTo>
                      <a:cubicBezTo>
                        <a:pt x="221809" y="112553"/>
                        <a:pt x="230063" y="122223"/>
                        <a:pt x="235681" y="133122"/>
                      </a:cubicBezTo>
                      <a:cubicBezTo>
                        <a:pt x="241428" y="126438"/>
                        <a:pt x="243973" y="116864"/>
                        <a:pt x="241842" y="108314"/>
                      </a:cubicBezTo>
                      <a:lnTo>
                        <a:pt x="240955" y="104775"/>
                      </a:lnTo>
                      <a:lnTo>
                        <a:pt x="243949" y="102694"/>
                      </a:lnTo>
                      <a:cubicBezTo>
                        <a:pt x="251168" y="97664"/>
                        <a:pt x="259109" y="101504"/>
                        <a:pt x="265502" y="104600"/>
                      </a:cubicBezTo>
                      <a:cubicBezTo>
                        <a:pt x="266440" y="105053"/>
                        <a:pt x="267262" y="105429"/>
                        <a:pt x="268090" y="105808"/>
                      </a:cubicBezTo>
                      <a:cubicBezTo>
                        <a:pt x="268256" y="104844"/>
                        <a:pt x="268522" y="103899"/>
                        <a:pt x="268915" y="10301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1" name="Forma libre 210">
                  <a:extLst>
                    <a:ext uri="{FF2B5EF4-FFF2-40B4-BE49-F238E27FC236}">
                      <a16:creationId xmlns:a16="http://schemas.microsoft.com/office/drawing/2014/main" id="{0C78622E-BDF4-6C4E-8B3F-56261350AE56}"/>
                    </a:ext>
                  </a:extLst>
                </p:cNvPr>
                <p:cNvSpPr/>
                <p:nvPr/>
              </p:nvSpPr>
              <p:spPr>
                <a:xfrm>
                  <a:off x="5241165" y="2350976"/>
                  <a:ext cx="526261" cy="800278"/>
                </a:xfrm>
                <a:custGeom>
                  <a:avLst/>
                  <a:gdLst>
                    <a:gd name="connsiteX0" fmla="*/ 35454 w 526261"/>
                    <a:gd name="connsiteY0" fmla="*/ 601472 h 800278"/>
                    <a:gd name="connsiteX1" fmla="*/ 43303 w 526261"/>
                    <a:gd name="connsiteY1" fmla="*/ 621887 h 800278"/>
                    <a:gd name="connsiteX2" fmla="*/ 51222 w 526261"/>
                    <a:gd name="connsiteY2" fmla="*/ 639980 h 800278"/>
                    <a:gd name="connsiteX3" fmla="*/ 76538 w 526261"/>
                    <a:gd name="connsiteY3" fmla="*/ 643009 h 800278"/>
                    <a:gd name="connsiteX4" fmla="*/ 83205 w 526261"/>
                    <a:gd name="connsiteY4" fmla="*/ 642348 h 800278"/>
                    <a:gd name="connsiteX5" fmla="*/ 110864 w 526261"/>
                    <a:gd name="connsiteY5" fmla="*/ 651118 h 800278"/>
                    <a:gd name="connsiteX6" fmla="*/ 116324 w 526261"/>
                    <a:gd name="connsiteY6" fmla="*/ 665464 h 800278"/>
                    <a:gd name="connsiteX7" fmla="*/ 116151 w 526261"/>
                    <a:gd name="connsiteY7" fmla="*/ 667719 h 800278"/>
                    <a:gd name="connsiteX8" fmla="*/ 114400 w 526261"/>
                    <a:gd name="connsiteY8" fmla="*/ 669150 h 800278"/>
                    <a:gd name="connsiteX9" fmla="*/ 60789 w 526261"/>
                    <a:gd name="connsiteY9" fmla="*/ 764844 h 800278"/>
                    <a:gd name="connsiteX10" fmla="*/ 106296 w 526261"/>
                    <a:gd name="connsiteY10" fmla="*/ 773353 h 800278"/>
                    <a:gd name="connsiteX11" fmla="*/ 107273 w 526261"/>
                    <a:gd name="connsiteY11" fmla="*/ 773988 h 800278"/>
                    <a:gd name="connsiteX12" fmla="*/ 112074 w 526261"/>
                    <a:gd name="connsiteY12" fmla="*/ 776403 h 800278"/>
                    <a:gd name="connsiteX13" fmla="*/ 118446 w 526261"/>
                    <a:gd name="connsiteY13" fmla="*/ 774412 h 800278"/>
                    <a:gd name="connsiteX14" fmla="*/ 128718 w 526261"/>
                    <a:gd name="connsiteY14" fmla="*/ 771324 h 800278"/>
                    <a:gd name="connsiteX15" fmla="*/ 143627 w 526261"/>
                    <a:gd name="connsiteY15" fmla="*/ 777460 h 800278"/>
                    <a:gd name="connsiteX16" fmla="*/ 150796 w 526261"/>
                    <a:gd name="connsiteY16" fmla="*/ 781586 h 800278"/>
                    <a:gd name="connsiteX17" fmla="*/ 155045 w 526261"/>
                    <a:gd name="connsiteY17" fmla="*/ 782102 h 800278"/>
                    <a:gd name="connsiteX18" fmla="*/ 160919 w 526261"/>
                    <a:gd name="connsiteY18" fmla="*/ 782843 h 800278"/>
                    <a:gd name="connsiteX19" fmla="*/ 173954 w 526261"/>
                    <a:gd name="connsiteY19" fmla="*/ 790792 h 800278"/>
                    <a:gd name="connsiteX20" fmla="*/ 179192 w 526261"/>
                    <a:gd name="connsiteY20" fmla="*/ 796076 h 800278"/>
                    <a:gd name="connsiteX21" fmla="*/ 292942 w 526261"/>
                    <a:gd name="connsiteY21" fmla="*/ 799912 h 800278"/>
                    <a:gd name="connsiteX22" fmla="*/ 327926 w 526261"/>
                    <a:gd name="connsiteY22" fmla="*/ 799257 h 800278"/>
                    <a:gd name="connsiteX23" fmla="*/ 345492 w 526261"/>
                    <a:gd name="connsiteY23" fmla="*/ 796158 h 800278"/>
                    <a:gd name="connsiteX24" fmla="*/ 394075 w 526261"/>
                    <a:gd name="connsiteY24" fmla="*/ 794852 h 800278"/>
                    <a:gd name="connsiteX25" fmla="*/ 390280 w 526261"/>
                    <a:gd name="connsiteY25" fmla="*/ 762547 h 800278"/>
                    <a:gd name="connsiteX26" fmla="*/ 388494 w 526261"/>
                    <a:gd name="connsiteY26" fmla="*/ 757545 h 800278"/>
                    <a:gd name="connsiteX27" fmla="*/ 393496 w 526261"/>
                    <a:gd name="connsiteY27" fmla="*/ 755770 h 800278"/>
                    <a:gd name="connsiteX28" fmla="*/ 409416 w 526261"/>
                    <a:gd name="connsiteY28" fmla="*/ 735348 h 800278"/>
                    <a:gd name="connsiteX29" fmla="*/ 409858 w 526261"/>
                    <a:gd name="connsiteY29" fmla="*/ 730700 h 800278"/>
                    <a:gd name="connsiteX30" fmla="*/ 451169 w 526261"/>
                    <a:gd name="connsiteY30" fmla="*/ 729408 h 800278"/>
                    <a:gd name="connsiteX31" fmla="*/ 387236 w 526261"/>
                    <a:gd name="connsiteY31" fmla="*/ 625526 h 800278"/>
                    <a:gd name="connsiteX32" fmla="*/ 368984 w 526261"/>
                    <a:gd name="connsiteY32" fmla="*/ 572650 h 800278"/>
                    <a:gd name="connsiteX33" fmla="*/ 362406 w 526261"/>
                    <a:gd name="connsiteY33" fmla="*/ 552143 h 800278"/>
                    <a:gd name="connsiteX34" fmla="*/ 359132 w 526261"/>
                    <a:gd name="connsiteY34" fmla="*/ 542203 h 800278"/>
                    <a:gd name="connsiteX35" fmla="*/ 369081 w 526261"/>
                    <a:gd name="connsiteY35" fmla="*/ 545454 h 800278"/>
                    <a:gd name="connsiteX36" fmla="*/ 424135 w 526261"/>
                    <a:gd name="connsiteY36" fmla="*/ 547948 h 800278"/>
                    <a:gd name="connsiteX37" fmla="*/ 451430 w 526261"/>
                    <a:gd name="connsiteY37" fmla="*/ 539009 h 800278"/>
                    <a:gd name="connsiteX38" fmla="*/ 522875 w 526261"/>
                    <a:gd name="connsiteY38" fmla="*/ 511985 h 800278"/>
                    <a:gd name="connsiteX39" fmla="*/ 514423 w 526261"/>
                    <a:gd name="connsiteY39" fmla="*/ 395941 h 800278"/>
                    <a:gd name="connsiteX40" fmla="*/ 510494 w 526261"/>
                    <a:gd name="connsiteY40" fmla="*/ 384424 h 800278"/>
                    <a:gd name="connsiteX41" fmla="*/ 500817 w 526261"/>
                    <a:gd name="connsiteY41" fmla="*/ 349114 h 800278"/>
                    <a:gd name="connsiteX42" fmla="*/ 513989 w 526261"/>
                    <a:gd name="connsiteY42" fmla="*/ 288373 h 800278"/>
                    <a:gd name="connsiteX43" fmla="*/ 501968 w 526261"/>
                    <a:gd name="connsiteY43" fmla="*/ 261968 h 800278"/>
                    <a:gd name="connsiteX44" fmla="*/ 474801 w 526261"/>
                    <a:gd name="connsiteY44" fmla="*/ 261005 h 800278"/>
                    <a:gd name="connsiteX45" fmla="*/ 432087 w 526261"/>
                    <a:gd name="connsiteY45" fmla="*/ 231504 h 800278"/>
                    <a:gd name="connsiteX46" fmla="*/ 373461 w 526261"/>
                    <a:gd name="connsiteY46" fmla="*/ 239987 h 800278"/>
                    <a:gd name="connsiteX47" fmla="*/ 283636 w 526261"/>
                    <a:gd name="connsiteY47" fmla="*/ 204838 h 800278"/>
                    <a:gd name="connsiteX48" fmla="*/ 278916 w 526261"/>
                    <a:gd name="connsiteY48" fmla="*/ 138187 h 800278"/>
                    <a:gd name="connsiteX49" fmla="*/ 314776 w 526261"/>
                    <a:gd name="connsiteY49" fmla="*/ 84695 h 800278"/>
                    <a:gd name="connsiteX50" fmla="*/ 349367 w 526261"/>
                    <a:gd name="connsiteY50" fmla="*/ 61681 h 800278"/>
                    <a:gd name="connsiteX51" fmla="*/ 338126 w 526261"/>
                    <a:gd name="connsiteY51" fmla="*/ 6184 h 800278"/>
                    <a:gd name="connsiteX52" fmla="*/ 316759 w 526261"/>
                    <a:gd name="connsiteY52" fmla="*/ 673 h 800278"/>
                    <a:gd name="connsiteX53" fmla="*/ 308162 w 526261"/>
                    <a:gd name="connsiteY53" fmla="*/ 20182 h 800278"/>
                    <a:gd name="connsiteX54" fmla="*/ 222936 w 526261"/>
                    <a:gd name="connsiteY54" fmla="*/ 12826 h 800278"/>
                    <a:gd name="connsiteX55" fmla="*/ 231148 w 526261"/>
                    <a:gd name="connsiteY55" fmla="*/ 143149 h 800278"/>
                    <a:gd name="connsiteX56" fmla="*/ 256232 w 526261"/>
                    <a:gd name="connsiteY56" fmla="*/ 243113 h 800278"/>
                    <a:gd name="connsiteX57" fmla="*/ 225023 w 526261"/>
                    <a:gd name="connsiteY57" fmla="*/ 290550 h 800278"/>
                    <a:gd name="connsiteX58" fmla="*/ 136733 w 526261"/>
                    <a:gd name="connsiteY58" fmla="*/ 248090 h 800278"/>
                    <a:gd name="connsiteX59" fmla="*/ 131212 w 526261"/>
                    <a:gd name="connsiteY59" fmla="*/ 276816 h 800278"/>
                    <a:gd name="connsiteX60" fmla="*/ 136502 w 526261"/>
                    <a:gd name="connsiteY60" fmla="*/ 278117 h 800278"/>
                    <a:gd name="connsiteX61" fmla="*/ 141659 w 526261"/>
                    <a:gd name="connsiteY61" fmla="*/ 286012 h 800278"/>
                    <a:gd name="connsiteX62" fmla="*/ 150454 w 526261"/>
                    <a:gd name="connsiteY62" fmla="*/ 299452 h 800278"/>
                    <a:gd name="connsiteX63" fmla="*/ 150195 w 526261"/>
                    <a:gd name="connsiteY63" fmla="*/ 308139 h 800278"/>
                    <a:gd name="connsiteX64" fmla="*/ 140587 w 526261"/>
                    <a:gd name="connsiteY64" fmla="*/ 368252 h 800278"/>
                    <a:gd name="connsiteX65" fmla="*/ 126695 w 526261"/>
                    <a:gd name="connsiteY65" fmla="*/ 393783 h 800278"/>
                    <a:gd name="connsiteX66" fmla="*/ 113767 w 526261"/>
                    <a:gd name="connsiteY66" fmla="*/ 395334 h 800278"/>
                    <a:gd name="connsiteX67" fmla="*/ 108925 w 526261"/>
                    <a:gd name="connsiteY67" fmla="*/ 393046 h 800278"/>
                    <a:gd name="connsiteX68" fmla="*/ 105444 w 526261"/>
                    <a:gd name="connsiteY68" fmla="*/ 391531 h 800278"/>
                    <a:gd name="connsiteX69" fmla="*/ 101001 w 526261"/>
                    <a:gd name="connsiteY69" fmla="*/ 397662 h 800278"/>
                    <a:gd name="connsiteX70" fmla="*/ 94512 w 526261"/>
                    <a:gd name="connsiteY70" fmla="*/ 407491 h 800278"/>
                    <a:gd name="connsiteX71" fmla="*/ 74154 w 526261"/>
                    <a:gd name="connsiteY71" fmla="*/ 411942 h 800278"/>
                    <a:gd name="connsiteX72" fmla="*/ 61625 w 526261"/>
                    <a:gd name="connsiteY72" fmla="*/ 413834 h 800278"/>
                    <a:gd name="connsiteX73" fmla="*/ 58878 w 526261"/>
                    <a:gd name="connsiteY73" fmla="*/ 419885 h 800278"/>
                    <a:gd name="connsiteX74" fmla="*/ 56087 w 526261"/>
                    <a:gd name="connsiteY74" fmla="*/ 426881 h 800278"/>
                    <a:gd name="connsiteX75" fmla="*/ 38861 w 526261"/>
                    <a:gd name="connsiteY75" fmla="*/ 440017 h 800278"/>
                    <a:gd name="connsiteX76" fmla="*/ 30777 w 526261"/>
                    <a:gd name="connsiteY76" fmla="*/ 444372 h 800278"/>
                    <a:gd name="connsiteX77" fmla="*/ 35098 w 526261"/>
                    <a:gd name="connsiteY77" fmla="*/ 452581 h 800278"/>
                    <a:gd name="connsiteX78" fmla="*/ 26128 w 526261"/>
                    <a:gd name="connsiteY78" fmla="*/ 457053 h 800278"/>
                    <a:gd name="connsiteX79" fmla="*/ 26193 w 526261"/>
                    <a:gd name="connsiteY79" fmla="*/ 457979 h 800278"/>
                    <a:gd name="connsiteX80" fmla="*/ 15790 w 526261"/>
                    <a:gd name="connsiteY80" fmla="*/ 530277 h 800278"/>
                    <a:gd name="connsiteX81" fmla="*/ 11135 w 526261"/>
                    <a:gd name="connsiteY81" fmla="*/ 541124 h 800278"/>
                    <a:gd name="connsiteX82" fmla="*/ 1177 w 526261"/>
                    <a:gd name="connsiteY82" fmla="*/ 587660 h 800278"/>
                    <a:gd name="connsiteX83" fmla="*/ 35454 w 526261"/>
                    <a:gd name="connsiteY83" fmla="*/ 601472 h 8002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</a:cxnLst>
                  <a:rect l="l" t="t" r="r" b="b"/>
                  <a:pathLst>
                    <a:path w="526261" h="800278">
                      <a:moveTo>
                        <a:pt x="35454" y="601472"/>
                      </a:moveTo>
                      <a:cubicBezTo>
                        <a:pt x="40045" y="607593"/>
                        <a:pt x="41702" y="614866"/>
                        <a:pt x="43303" y="621887"/>
                      </a:cubicBezTo>
                      <a:cubicBezTo>
                        <a:pt x="44955" y="629156"/>
                        <a:pt x="46516" y="636011"/>
                        <a:pt x="51222" y="639980"/>
                      </a:cubicBezTo>
                      <a:cubicBezTo>
                        <a:pt x="57301" y="645106"/>
                        <a:pt x="66646" y="644064"/>
                        <a:pt x="76538" y="643009"/>
                      </a:cubicBezTo>
                      <a:cubicBezTo>
                        <a:pt x="78789" y="642765"/>
                        <a:pt x="81024" y="642519"/>
                        <a:pt x="83205" y="642348"/>
                      </a:cubicBezTo>
                      <a:cubicBezTo>
                        <a:pt x="91945" y="641746"/>
                        <a:pt x="103861" y="644116"/>
                        <a:pt x="110864" y="651118"/>
                      </a:cubicBezTo>
                      <a:cubicBezTo>
                        <a:pt x="114855" y="655122"/>
                        <a:pt x="116743" y="660073"/>
                        <a:pt x="116324" y="665464"/>
                      </a:cubicBezTo>
                      <a:lnTo>
                        <a:pt x="116151" y="667719"/>
                      </a:lnTo>
                      <a:lnTo>
                        <a:pt x="114400" y="669150"/>
                      </a:lnTo>
                      <a:cubicBezTo>
                        <a:pt x="85415" y="692845"/>
                        <a:pt x="66331" y="727861"/>
                        <a:pt x="60789" y="764844"/>
                      </a:cubicBezTo>
                      <a:cubicBezTo>
                        <a:pt x="76315" y="761782"/>
                        <a:pt x="92959" y="764806"/>
                        <a:pt x="106296" y="773353"/>
                      </a:cubicBezTo>
                      <a:lnTo>
                        <a:pt x="107273" y="773988"/>
                      </a:lnTo>
                      <a:cubicBezTo>
                        <a:pt x="109029" y="775134"/>
                        <a:pt x="110688" y="776217"/>
                        <a:pt x="112074" y="776403"/>
                      </a:cubicBezTo>
                      <a:cubicBezTo>
                        <a:pt x="113714" y="776568"/>
                        <a:pt x="115932" y="775599"/>
                        <a:pt x="118446" y="774412"/>
                      </a:cubicBezTo>
                      <a:cubicBezTo>
                        <a:pt x="121403" y="773014"/>
                        <a:pt x="124753" y="771426"/>
                        <a:pt x="128718" y="771324"/>
                      </a:cubicBezTo>
                      <a:cubicBezTo>
                        <a:pt x="134831" y="771186"/>
                        <a:pt x="139531" y="774514"/>
                        <a:pt x="143627" y="777460"/>
                      </a:cubicBezTo>
                      <a:cubicBezTo>
                        <a:pt x="146128" y="779273"/>
                        <a:pt x="148489" y="780973"/>
                        <a:pt x="150796" y="781586"/>
                      </a:cubicBezTo>
                      <a:cubicBezTo>
                        <a:pt x="152185" y="781959"/>
                        <a:pt x="153618" y="782020"/>
                        <a:pt x="155045" y="782102"/>
                      </a:cubicBezTo>
                      <a:cubicBezTo>
                        <a:pt x="157027" y="782231"/>
                        <a:pt x="159002" y="782383"/>
                        <a:pt x="160919" y="782843"/>
                      </a:cubicBezTo>
                      <a:cubicBezTo>
                        <a:pt x="166204" y="784138"/>
                        <a:pt x="170309" y="787425"/>
                        <a:pt x="173954" y="790792"/>
                      </a:cubicBezTo>
                      <a:cubicBezTo>
                        <a:pt x="175783" y="792480"/>
                        <a:pt x="177474" y="794290"/>
                        <a:pt x="179192" y="796076"/>
                      </a:cubicBezTo>
                      <a:lnTo>
                        <a:pt x="292942" y="799912"/>
                      </a:lnTo>
                      <a:cubicBezTo>
                        <a:pt x="304476" y="800311"/>
                        <a:pt x="316410" y="800700"/>
                        <a:pt x="327926" y="799257"/>
                      </a:cubicBezTo>
                      <a:cubicBezTo>
                        <a:pt x="333709" y="798520"/>
                        <a:pt x="339590" y="797340"/>
                        <a:pt x="345492" y="796158"/>
                      </a:cubicBezTo>
                      <a:cubicBezTo>
                        <a:pt x="361756" y="792892"/>
                        <a:pt x="378503" y="789527"/>
                        <a:pt x="394075" y="794852"/>
                      </a:cubicBezTo>
                      <a:cubicBezTo>
                        <a:pt x="395276" y="783964"/>
                        <a:pt x="393987" y="772913"/>
                        <a:pt x="390280" y="762547"/>
                      </a:cubicBezTo>
                      <a:lnTo>
                        <a:pt x="388494" y="757545"/>
                      </a:lnTo>
                      <a:lnTo>
                        <a:pt x="393496" y="755770"/>
                      </a:lnTo>
                      <a:cubicBezTo>
                        <a:pt x="402017" y="752748"/>
                        <a:pt x="408564" y="744352"/>
                        <a:pt x="409416" y="735348"/>
                      </a:cubicBezTo>
                      <a:lnTo>
                        <a:pt x="409858" y="730700"/>
                      </a:lnTo>
                      <a:lnTo>
                        <a:pt x="451169" y="729408"/>
                      </a:lnTo>
                      <a:cubicBezTo>
                        <a:pt x="424123" y="698572"/>
                        <a:pt x="402642" y="663680"/>
                        <a:pt x="387236" y="625526"/>
                      </a:cubicBezTo>
                      <a:cubicBezTo>
                        <a:pt x="380224" y="608166"/>
                        <a:pt x="374511" y="590110"/>
                        <a:pt x="368984" y="572650"/>
                      </a:cubicBezTo>
                      <a:cubicBezTo>
                        <a:pt x="366817" y="565805"/>
                        <a:pt x="364650" y="558957"/>
                        <a:pt x="362406" y="552143"/>
                      </a:cubicBezTo>
                      <a:lnTo>
                        <a:pt x="359132" y="542203"/>
                      </a:lnTo>
                      <a:lnTo>
                        <a:pt x="369081" y="545454"/>
                      </a:lnTo>
                      <a:cubicBezTo>
                        <a:pt x="386877" y="551273"/>
                        <a:pt x="405915" y="552140"/>
                        <a:pt x="424135" y="547948"/>
                      </a:cubicBezTo>
                      <a:cubicBezTo>
                        <a:pt x="433361" y="545838"/>
                        <a:pt x="442546" y="542364"/>
                        <a:pt x="451430" y="539009"/>
                      </a:cubicBezTo>
                      <a:lnTo>
                        <a:pt x="522875" y="511985"/>
                      </a:lnTo>
                      <a:cubicBezTo>
                        <a:pt x="529385" y="473326"/>
                        <a:pt x="526479" y="433268"/>
                        <a:pt x="514423" y="395941"/>
                      </a:cubicBezTo>
                      <a:cubicBezTo>
                        <a:pt x="513180" y="392088"/>
                        <a:pt x="511838" y="388255"/>
                        <a:pt x="510494" y="384424"/>
                      </a:cubicBezTo>
                      <a:cubicBezTo>
                        <a:pt x="506536" y="373113"/>
                        <a:pt x="502444" y="361425"/>
                        <a:pt x="500817" y="349114"/>
                      </a:cubicBezTo>
                      <a:cubicBezTo>
                        <a:pt x="498059" y="328306"/>
                        <a:pt x="502868" y="306185"/>
                        <a:pt x="513989" y="288373"/>
                      </a:cubicBezTo>
                      <a:cubicBezTo>
                        <a:pt x="507588" y="280919"/>
                        <a:pt x="503183" y="271724"/>
                        <a:pt x="501968" y="261968"/>
                      </a:cubicBezTo>
                      <a:cubicBezTo>
                        <a:pt x="492912" y="261648"/>
                        <a:pt x="483855" y="261325"/>
                        <a:pt x="474801" y="261005"/>
                      </a:cubicBezTo>
                      <a:cubicBezTo>
                        <a:pt x="476812" y="241249"/>
                        <a:pt x="451837" y="229437"/>
                        <a:pt x="432087" y="231504"/>
                      </a:cubicBezTo>
                      <a:cubicBezTo>
                        <a:pt x="412336" y="233573"/>
                        <a:pt x="393074" y="243093"/>
                        <a:pt x="373461" y="239987"/>
                      </a:cubicBezTo>
                      <a:cubicBezTo>
                        <a:pt x="340887" y="234831"/>
                        <a:pt x="315470" y="196225"/>
                        <a:pt x="283636" y="204838"/>
                      </a:cubicBezTo>
                      <a:cubicBezTo>
                        <a:pt x="279609" y="182824"/>
                        <a:pt x="275568" y="160318"/>
                        <a:pt x="278916" y="138187"/>
                      </a:cubicBezTo>
                      <a:cubicBezTo>
                        <a:pt x="282261" y="116057"/>
                        <a:pt x="294408" y="93975"/>
                        <a:pt x="314776" y="84695"/>
                      </a:cubicBezTo>
                      <a:cubicBezTo>
                        <a:pt x="327944" y="78691"/>
                        <a:pt x="346164" y="75796"/>
                        <a:pt x="349367" y="61681"/>
                      </a:cubicBezTo>
                      <a:cubicBezTo>
                        <a:pt x="353858" y="41905"/>
                        <a:pt x="322618" y="19252"/>
                        <a:pt x="338126" y="6184"/>
                      </a:cubicBezTo>
                      <a:cubicBezTo>
                        <a:pt x="332527" y="937"/>
                        <a:pt x="324196" y="-1212"/>
                        <a:pt x="316759" y="673"/>
                      </a:cubicBezTo>
                      <a:cubicBezTo>
                        <a:pt x="313892" y="7176"/>
                        <a:pt x="311027" y="13680"/>
                        <a:pt x="308162" y="20182"/>
                      </a:cubicBezTo>
                      <a:cubicBezTo>
                        <a:pt x="281321" y="9367"/>
                        <a:pt x="251232" y="6769"/>
                        <a:pt x="222936" y="12826"/>
                      </a:cubicBezTo>
                      <a:cubicBezTo>
                        <a:pt x="225673" y="56267"/>
                        <a:pt x="228409" y="99708"/>
                        <a:pt x="231148" y="143149"/>
                      </a:cubicBezTo>
                      <a:cubicBezTo>
                        <a:pt x="233337" y="177901"/>
                        <a:pt x="236196" y="214636"/>
                        <a:pt x="256232" y="243113"/>
                      </a:cubicBezTo>
                      <a:cubicBezTo>
                        <a:pt x="240767" y="254681"/>
                        <a:pt x="229524" y="271772"/>
                        <a:pt x="225023" y="290550"/>
                      </a:cubicBezTo>
                      <a:cubicBezTo>
                        <a:pt x="200738" y="267981"/>
                        <a:pt x="169525" y="252971"/>
                        <a:pt x="136733" y="248090"/>
                      </a:cubicBezTo>
                      <a:cubicBezTo>
                        <a:pt x="134892" y="257667"/>
                        <a:pt x="133053" y="267241"/>
                        <a:pt x="131212" y="276816"/>
                      </a:cubicBezTo>
                      <a:lnTo>
                        <a:pt x="136502" y="278117"/>
                      </a:lnTo>
                      <a:cubicBezTo>
                        <a:pt x="135995" y="280163"/>
                        <a:pt x="138113" y="282466"/>
                        <a:pt x="141659" y="286012"/>
                      </a:cubicBezTo>
                      <a:cubicBezTo>
                        <a:pt x="145261" y="289616"/>
                        <a:pt x="149340" y="293696"/>
                        <a:pt x="150454" y="299452"/>
                      </a:cubicBezTo>
                      <a:cubicBezTo>
                        <a:pt x="151067" y="302639"/>
                        <a:pt x="150584" y="305689"/>
                        <a:pt x="150195" y="308139"/>
                      </a:cubicBezTo>
                      <a:lnTo>
                        <a:pt x="140587" y="368252"/>
                      </a:lnTo>
                      <a:cubicBezTo>
                        <a:pt x="139133" y="377365"/>
                        <a:pt x="134720" y="388854"/>
                        <a:pt x="126695" y="393783"/>
                      </a:cubicBezTo>
                      <a:cubicBezTo>
                        <a:pt x="122684" y="396234"/>
                        <a:pt x="118212" y="396773"/>
                        <a:pt x="113767" y="395334"/>
                      </a:cubicBezTo>
                      <a:cubicBezTo>
                        <a:pt x="111906" y="394738"/>
                        <a:pt x="110322" y="393839"/>
                        <a:pt x="108925" y="393046"/>
                      </a:cubicBezTo>
                      <a:cubicBezTo>
                        <a:pt x="107610" y="392303"/>
                        <a:pt x="106250" y="391526"/>
                        <a:pt x="105444" y="391531"/>
                      </a:cubicBezTo>
                      <a:cubicBezTo>
                        <a:pt x="104067" y="391543"/>
                        <a:pt x="102788" y="393968"/>
                        <a:pt x="101001" y="397662"/>
                      </a:cubicBezTo>
                      <a:cubicBezTo>
                        <a:pt x="99396" y="400974"/>
                        <a:pt x="97578" y="404726"/>
                        <a:pt x="94512" y="407491"/>
                      </a:cubicBezTo>
                      <a:cubicBezTo>
                        <a:pt x="88599" y="412814"/>
                        <a:pt x="80911" y="412356"/>
                        <a:pt x="74154" y="411942"/>
                      </a:cubicBezTo>
                      <a:cubicBezTo>
                        <a:pt x="67837" y="411548"/>
                        <a:pt x="63869" y="411495"/>
                        <a:pt x="61625" y="413834"/>
                      </a:cubicBezTo>
                      <a:cubicBezTo>
                        <a:pt x="60362" y="415151"/>
                        <a:pt x="59676" y="417344"/>
                        <a:pt x="58878" y="419885"/>
                      </a:cubicBezTo>
                      <a:cubicBezTo>
                        <a:pt x="58196" y="422066"/>
                        <a:pt x="57418" y="424545"/>
                        <a:pt x="56087" y="426881"/>
                      </a:cubicBezTo>
                      <a:cubicBezTo>
                        <a:pt x="52203" y="433701"/>
                        <a:pt x="45111" y="437053"/>
                        <a:pt x="38861" y="440017"/>
                      </a:cubicBezTo>
                      <a:cubicBezTo>
                        <a:pt x="35817" y="441456"/>
                        <a:pt x="33007" y="442806"/>
                        <a:pt x="30777" y="444372"/>
                      </a:cubicBezTo>
                      <a:cubicBezTo>
                        <a:pt x="32342" y="447148"/>
                        <a:pt x="33777" y="449938"/>
                        <a:pt x="35098" y="452581"/>
                      </a:cubicBezTo>
                      <a:lnTo>
                        <a:pt x="26128" y="457053"/>
                      </a:lnTo>
                      <a:cubicBezTo>
                        <a:pt x="26158" y="457369"/>
                        <a:pt x="26163" y="457656"/>
                        <a:pt x="26193" y="457979"/>
                      </a:cubicBezTo>
                      <a:cubicBezTo>
                        <a:pt x="28563" y="483009"/>
                        <a:pt x="24941" y="507730"/>
                        <a:pt x="15790" y="530277"/>
                      </a:cubicBezTo>
                      <a:cubicBezTo>
                        <a:pt x="14338" y="533851"/>
                        <a:pt x="12745" y="537473"/>
                        <a:pt x="11135" y="541124"/>
                      </a:cubicBezTo>
                      <a:cubicBezTo>
                        <a:pt x="4183" y="556914"/>
                        <a:pt x="-2847" y="573179"/>
                        <a:pt x="1177" y="587660"/>
                      </a:cubicBezTo>
                      <a:cubicBezTo>
                        <a:pt x="14263" y="588380"/>
                        <a:pt x="27099" y="590334"/>
                        <a:pt x="35454" y="60147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2" name="Forma libre 211">
                  <a:extLst>
                    <a:ext uri="{FF2B5EF4-FFF2-40B4-BE49-F238E27FC236}">
                      <a16:creationId xmlns:a16="http://schemas.microsoft.com/office/drawing/2014/main" id="{7A98B9DF-6651-CC42-82A2-43DD5B587794}"/>
                    </a:ext>
                  </a:extLst>
                </p:cNvPr>
                <p:cNvSpPr/>
                <p:nvPr/>
              </p:nvSpPr>
              <p:spPr>
                <a:xfrm>
                  <a:off x="4603767" y="2324372"/>
                  <a:ext cx="101815" cy="75916"/>
                </a:xfrm>
                <a:custGeom>
                  <a:avLst/>
                  <a:gdLst>
                    <a:gd name="connsiteX0" fmla="*/ 97832 w 101815"/>
                    <a:gd name="connsiteY0" fmla="*/ 75916 h 75916"/>
                    <a:gd name="connsiteX1" fmla="*/ 89574 w 101815"/>
                    <a:gd name="connsiteY1" fmla="*/ 71940 h 75916"/>
                    <a:gd name="connsiteX2" fmla="*/ 87021 w 101815"/>
                    <a:gd name="connsiteY2" fmla="*/ 55710 h 75916"/>
                    <a:gd name="connsiteX3" fmla="*/ 88956 w 101815"/>
                    <a:gd name="connsiteY3" fmla="*/ 50839 h 75916"/>
                    <a:gd name="connsiteX4" fmla="*/ 91048 w 101815"/>
                    <a:gd name="connsiteY4" fmla="*/ 42154 h 75916"/>
                    <a:gd name="connsiteX5" fmla="*/ 83010 w 101815"/>
                    <a:gd name="connsiteY5" fmla="*/ 37949 h 75916"/>
                    <a:gd name="connsiteX6" fmla="*/ 71984 w 101815"/>
                    <a:gd name="connsiteY6" fmla="*/ 40627 h 75916"/>
                    <a:gd name="connsiteX7" fmla="*/ 68447 w 101815"/>
                    <a:gd name="connsiteY7" fmla="*/ 41818 h 75916"/>
                    <a:gd name="connsiteX8" fmla="*/ 30472 w 101815"/>
                    <a:gd name="connsiteY8" fmla="*/ 44455 h 75916"/>
                    <a:gd name="connsiteX9" fmla="*/ 21421 w 101815"/>
                    <a:gd name="connsiteY9" fmla="*/ 40873 h 75916"/>
                    <a:gd name="connsiteX10" fmla="*/ 12602 w 101815"/>
                    <a:gd name="connsiteY10" fmla="*/ 22968 h 75916"/>
                    <a:gd name="connsiteX11" fmla="*/ 9064 w 101815"/>
                    <a:gd name="connsiteY11" fmla="*/ 13039 h 75916"/>
                    <a:gd name="connsiteX12" fmla="*/ 7054 w 101815"/>
                    <a:gd name="connsiteY12" fmla="*/ 10638 h 75916"/>
                    <a:gd name="connsiteX13" fmla="*/ 0 w 101815"/>
                    <a:gd name="connsiteY13" fmla="*/ 2852 h 75916"/>
                    <a:gd name="connsiteX14" fmla="*/ 11932 w 101815"/>
                    <a:gd name="connsiteY14" fmla="*/ 1238 h 75916"/>
                    <a:gd name="connsiteX15" fmla="*/ 18170 w 101815"/>
                    <a:gd name="connsiteY15" fmla="*/ 7640 h 75916"/>
                    <a:gd name="connsiteX16" fmla="*/ 22785 w 101815"/>
                    <a:gd name="connsiteY16" fmla="*/ 20042 h 75916"/>
                    <a:gd name="connsiteX17" fmla="*/ 28108 w 101815"/>
                    <a:gd name="connsiteY17" fmla="*/ 32662 h 75916"/>
                    <a:gd name="connsiteX18" fmla="*/ 32269 w 101815"/>
                    <a:gd name="connsiteY18" fmla="*/ 34017 h 75916"/>
                    <a:gd name="connsiteX19" fmla="*/ 65215 w 101815"/>
                    <a:gd name="connsiteY19" fmla="*/ 31732 h 75916"/>
                    <a:gd name="connsiteX20" fmla="*/ 68517 w 101815"/>
                    <a:gd name="connsiteY20" fmla="*/ 30617 h 75916"/>
                    <a:gd name="connsiteX21" fmla="*/ 82776 w 101815"/>
                    <a:gd name="connsiteY21" fmla="*/ 27360 h 75916"/>
                    <a:gd name="connsiteX22" fmla="*/ 101213 w 101815"/>
                    <a:gd name="connsiteY22" fmla="*/ 39188 h 75916"/>
                    <a:gd name="connsiteX23" fmla="*/ 98684 w 101815"/>
                    <a:gd name="connsiteY23" fmla="*/ 55026 h 75916"/>
                    <a:gd name="connsiteX24" fmla="*/ 97071 w 101815"/>
                    <a:gd name="connsiteY24" fmla="*/ 59062 h 75916"/>
                    <a:gd name="connsiteX25" fmla="*/ 97926 w 101815"/>
                    <a:gd name="connsiteY25" fmla="*/ 65385 h 75916"/>
                    <a:gd name="connsiteX26" fmla="*/ 99090 w 101815"/>
                    <a:gd name="connsiteY26" fmla="*/ 75834 h 75916"/>
                    <a:gd name="connsiteX27" fmla="*/ 97832 w 101815"/>
                    <a:gd name="connsiteY27" fmla="*/ 75916 h 759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01815" h="75916">
                      <a:moveTo>
                        <a:pt x="97832" y="75916"/>
                      </a:moveTo>
                      <a:cubicBezTo>
                        <a:pt x="94657" y="75941"/>
                        <a:pt x="91699" y="74530"/>
                        <a:pt x="89574" y="71940"/>
                      </a:cubicBezTo>
                      <a:cubicBezTo>
                        <a:pt x="86239" y="67863"/>
                        <a:pt x="85191" y="61190"/>
                        <a:pt x="87021" y="55710"/>
                      </a:cubicBezTo>
                      <a:cubicBezTo>
                        <a:pt x="87562" y="54091"/>
                        <a:pt x="88261" y="52462"/>
                        <a:pt x="88956" y="50839"/>
                      </a:cubicBezTo>
                      <a:cubicBezTo>
                        <a:pt x="90433" y="47410"/>
                        <a:pt x="91711" y="44442"/>
                        <a:pt x="91048" y="42154"/>
                      </a:cubicBezTo>
                      <a:cubicBezTo>
                        <a:pt x="90247" y="39426"/>
                        <a:pt x="86434" y="37960"/>
                        <a:pt x="83010" y="37949"/>
                      </a:cubicBezTo>
                      <a:cubicBezTo>
                        <a:pt x="79490" y="38026"/>
                        <a:pt x="75842" y="39289"/>
                        <a:pt x="71984" y="40627"/>
                      </a:cubicBezTo>
                      <a:lnTo>
                        <a:pt x="68447" y="41818"/>
                      </a:lnTo>
                      <a:cubicBezTo>
                        <a:pt x="56241" y="45735"/>
                        <a:pt x="43110" y="46641"/>
                        <a:pt x="30472" y="44455"/>
                      </a:cubicBezTo>
                      <a:cubicBezTo>
                        <a:pt x="27410" y="43929"/>
                        <a:pt x="24193" y="43131"/>
                        <a:pt x="21421" y="40873"/>
                      </a:cubicBezTo>
                      <a:cubicBezTo>
                        <a:pt x="16627" y="36973"/>
                        <a:pt x="14583" y="29852"/>
                        <a:pt x="12602" y="22968"/>
                      </a:cubicBezTo>
                      <a:cubicBezTo>
                        <a:pt x="11525" y="19201"/>
                        <a:pt x="10404" y="15304"/>
                        <a:pt x="9064" y="13039"/>
                      </a:cubicBezTo>
                      <a:cubicBezTo>
                        <a:pt x="8289" y="11731"/>
                        <a:pt x="7615" y="10924"/>
                        <a:pt x="7054" y="10638"/>
                      </a:cubicBezTo>
                      <a:lnTo>
                        <a:pt x="0" y="2852"/>
                      </a:lnTo>
                      <a:cubicBezTo>
                        <a:pt x="2933" y="-221"/>
                        <a:pt x="7832" y="-893"/>
                        <a:pt x="11932" y="1238"/>
                      </a:cubicBezTo>
                      <a:cubicBezTo>
                        <a:pt x="15094" y="2874"/>
                        <a:pt x="17008" y="5673"/>
                        <a:pt x="18170" y="7640"/>
                      </a:cubicBezTo>
                      <a:cubicBezTo>
                        <a:pt x="20208" y="11069"/>
                        <a:pt x="21519" y="15630"/>
                        <a:pt x="22785" y="20042"/>
                      </a:cubicBezTo>
                      <a:cubicBezTo>
                        <a:pt x="24164" y="24862"/>
                        <a:pt x="25891" y="30853"/>
                        <a:pt x="28108" y="32662"/>
                      </a:cubicBezTo>
                      <a:cubicBezTo>
                        <a:pt x="28991" y="33380"/>
                        <a:pt x="30708" y="33750"/>
                        <a:pt x="32269" y="34017"/>
                      </a:cubicBezTo>
                      <a:cubicBezTo>
                        <a:pt x="43217" y="35916"/>
                        <a:pt x="54620" y="35121"/>
                        <a:pt x="65215" y="31732"/>
                      </a:cubicBezTo>
                      <a:lnTo>
                        <a:pt x="68517" y="30617"/>
                      </a:lnTo>
                      <a:cubicBezTo>
                        <a:pt x="72978" y="29073"/>
                        <a:pt x="77596" y="27477"/>
                        <a:pt x="82776" y="27360"/>
                      </a:cubicBezTo>
                      <a:cubicBezTo>
                        <a:pt x="90197" y="27459"/>
                        <a:pt x="98777" y="30835"/>
                        <a:pt x="101213" y="39188"/>
                      </a:cubicBezTo>
                      <a:cubicBezTo>
                        <a:pt x="102944" y="45138"/>
                        <a:pt x="100580" y="50623"/>
                        <a:pt x="98684" y="55026"/>
                      </a:cubicBezTo>
                      <a:cubicBezTo>
                        <a:pt x="98104" y="56374"/>
                        <a:pt x="97520" y="57718"/>
                        <a:pt x="97071" y="59062"/>
                      </a:cubicBezTo>
                      <a:cubicBezTo>
                        <a:pt x="96182" y="61727"/>
                        <a:pt x="97224" y="64914"/>
                        <a:pt x="97926" y="65385"/>
                      </a:cubicBezTo>
                      <a:lnTo>
                        <a:pt x="99090" y="75834"/>
                      </a:lnTo>
                      <a:cubicBezTo>
                        <a:pt x="98670" y="75890"/>
                        <a:pt x="98251" y="75913"/>
                        <a:pt x="97832" y="75916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3" name="Forma libre 212">
                  <a:extLst>
                    <a:ext uri="{FF2B5EF4-FFF2-40B4-BE49-F238E27FC236}">
                      <a16:creationId xmlns:a16="http://schemas.microsoft.com/office/drawing/2014/main" id="{DCC87CC0-4ACF-054D-8AD7-17F89016B6A4}"/>
                    </a:ext>
                  </a:extLst>
                </p:cNvPr>
                <p:cNvSpPr/>
                <p:nvPr/>
              </p:nvSpPr>
              <p:spPr>
                <a:xfrm>
                  <a:off x="4610645" y="2291526"/>
                  <a:ext cx="68232" cy="39278"/>
                </a:xfrm>
                <a:custGeom>
                  <a:avLst/>
                  <a:gdLst>
                    <a:gd name="connsiteX0" fmla="*/ 6631 w 68232"/>
                    <a:gd name="connsiteY0" fmla="*/ 39278 h 39278"/>
                    <a:gd name="connsiteX1" fmla="*/ 0 w 68232"/>
                    <a:gd name="connsiteY1" fmla="*/ 31023 h 39278"/>
                    <a:gd name="connsiteX2" fmla="*/ 15421 w 68232"/>
                    <a:gd name="connsiteY2" fmla="*/ 27730 h 39278"/>
                    <a:gd name="connsiteX3" fmla="*/ 22818 w 68232"/>
                    <a:gd name="connsiteY3" fmla="*/ 27391 h 39278"/>
                    <a:gd name="connsiteX4" fmla="*/ 28144 w 68232"/>
                    <a:gd name="connsiteY4" fmla="*/ 24036 h 39278"/>
                    <a:gd name="connsiteX5" fmla="*/ 45017 w 68232"/>
                    <a:gd name="connsiteY5" fmla="*/ 8844 h 39278"/>
                    <a:gd name="connsiteX6" fmla="*/ 49546 w 68232"/>
                    <a:gd name="connsiteY6" fmla="*/ 4517 h 39278"/>
                    <a:gd name="connsiteX7" fmla="*/ 54538 w 68232"/>
                    <a:gd name="connsiteY7" fmla="*/ 2681 h 39278"/>
                    <a:gd name="connsiteX8" fmla="*/ 65786 w 68232"/>
                    <a:gd name="connsiteY8" fmla="*/ 0 h 39278"/>
                    <a:gd name="connsiteX9" fmla="*/ 68232 w 68232"/>
                    <a:gd name="connsiteY9" fmla="*/ 10303 h 39278"/>
                    <a:gd name="connsiteX10" fmla="*/ 56977 w 68232"/>
                    <a:gd name="connsiteY10" fmla="*/ 12984 h 39278"/>
                    <a:gd name="connsiteX11" fmla="*/ 55042 w 68232"/>
                    <a:gd name="connsiteY11" fmla="*/ 13572 h 39278"/>
                    <a:gd name="connsiteX12" fmla="*/ 53463 w 68232"/>
                    <a:gd name="connsiteY12" fmla="*/ 15249 h 39278"/>
                    <a:gd name="connsiteX13" fmla="*/ 34643 w 68232"/>
                    <a:gd name="connsiteY13" fmla="*/ 32389 h 39278"/>
                    <a:gd name="connsiteX14" fmla="*/ 26100 w 68232"/>
                    <a:gd name="connsiteY14" fmla="*/ 37458 h 39278"/>
                    <a:gd name="connsiteX15" fmla="*/ 14823 w 68232"/>
                    <a:gd name="connsiteY15" fmla="*/ 38303 h 39278"/>
                    <a:gd name="connsiteX16" fmla="*/ 6631 w 68232"/>
                    <a:gd name="connsiteY16" fmla="*/ 39278 h 392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68232" h="39278">
                      <a:moveTo>
                        <a:pt x="6631" y="39278"/>
                      </a:moveTo>
                      <a:lnTo>
                        <a:pt x="0" y="31023"/>
                      </a:lnTo>
                      <a:cubicBezTo>
                        <a:pt x="4834" y="27138"/>
                        <a:pt x="10711" y="27478"/>
                        <a:pt x="15421" y="27730"/>
                      </a:cubicBezTo>
                      <a:cubicBezTo>
                        <a:pt x="18218" y="27890"/>
                        <a:pt x="20853" y="28042"/>
                        <a:pt x="22818" y="27391"/>
                      </a:cubicBezTo>
                      <a:cubicBezTo>
                        <a:pt x="24561" y="26825"/>
                        <a:pt x="26381" y="25404"/>
                        <a:pt x="28144" y="24036"/>
                      </a:cubicBezTo>
                      <a:cubicBezTo>
                        <a:pt x="34117" y="19389"/>
                        <a:pt x="40293" y="14585"/>
                        <a:pt x="45017" y="8844"/>
                      </a:cubicBezTo>
                      <a:cubicBezTo>
                        <a:pt x="46313" y="7268"/>
                        <a:pt x="47600" y="5697"/>
                        <a:pt x="49546" y="4517"/>
                      </a:cubicBezTo>
                      <a:cubicBezTo>
                        <a:pt x="51321" y="3439"/>
                        <a:pt x="53181" y="3000"/>
                        <a:pt x="54538" y="2681"/>
                      </a:cubicBezTo>
                      <a:lnTo>
                        <a:pt x="65786" y="0"/>
                      </a:lnTo>
                      <a:lnTo>
                        <a:pt x="68232" y="10303"/>
                      </a:lnTo>
                      <a:lnTo>
                        <a:pt x="56977" y="12984"/>
                      </a:lnTo>
                      <a:cubicBezTo>
                        <a:pt x="56264" y="13155"/>
                        <a:pt x="55388" y="13358"/>
                        <a:pt x="55042" y="13572"/>
                      </a:cubicBezTo>
                      <a:cubicBezTo>
                        <a:pt x="54641" y="13813"/>
                        <a:pt x="54017" y="14576"/>
                        <a:pt x="53463" y="15249"/>
                      </a:cubicBezTo>
                      <a:cubicBezTo>
                        <a:pt x="47722" y="22223"/>
                        <a:pt x="41072" y="27392"/>
                        <a:pt x="34643" y="32389"/>
                      </a:cubicBezTo>
                      <a:cubicBezTo>
                        <a:pt x="32402" y="34138"/>
                        <a:pt x="29603" y="36314"/>
                        <a:pt x="26100" y="37458"/>
                      </a:cubicBezTo>
                      <a:cubicBezTo>
                        <a:pt x="22241" y="38718"/>
                        <a:pt x="18299" y="38484"/>
                        <a:pt x="14823" y="38303"/>
                      </a:cubicBezTo>
                      <a:cubicBezTo>
                        <a:pt x="11317" y="38100"/>
                        <a:pt x="8291" y="37942"/>
                        <a:pt x="6631" y="3927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4" name="Forma libre 213">
                  <a:extLst>
                    <a:ext uri="{FF2B5EF4-FFF2-40B4-BE49-F238E27FC236}">
                      <a16:creationId xmlns:a16="http://schemas.microsoft.com/office/drawing/2014/main" id="{75E7C3BE-DCB5-2346-BA38-98046E07404C}"/>
                    </a:ext>
                  </a:extLst>
                </p:cNvPr>
                <p:cNvSpPr/>
                <p:nvPr/>
              </p:nvSpPr>
              <p:spPr>
                <a:xfrm>
                  <a:off x="6455702" y="3754595"/>
                  <a:ext cx="595428" cy="250262"/>
                </a:xfrm>
                <a:custGeom>
                  <a:avLst/>
                  <a:gdLst>
                    <a:gd name="connsiteX0" fmla="*/ 27283 w 595428"/>
                    <a:gd name="connsiteY0" fmla="*/ 150551 h 250262"/>
                    <a:gd name="connsiteX1" fmla="*/ 16476 w 595428"/>
                    <a:gd name="connsiteY1" fmla="*/ 152522 h 250262"/>
                    <a:gd name="connsiteX2" fmla="*/ 37771 w 595428"/>
                    <a:gd name="connsiteY2" fmla="*/ 174318 h 250262"/>
                    <a:gd name="connsiteX3" fmla="*/ 35525 w 595428"/>
                    <a:gd name="connsiteY3" fmla="*/ 195973 h 250262"/>
                    <a:gd name="connsiteX4" fmla="*/ 71377 w 595428"/>
                    <a:gd name="connsiteY4" fmla="*/ 208199 h 250262"/>
                    <a:gd name="connsiteX5" fmla="*/ 58724 w 595428"/>
                    <a:gd name="connsiteY5" fmla="*/ 216590 h 250262"/>
                    <a:gd name="connsiteX6" fmla="*/ 93739 w 595428"/>
                    <a:gd name="connsiteY6" fmla="*/ 218367 h 250262"/>
                    <a:gd name="connsiteX7" fmla="*/ 112880 w 595428"/>
                    <a:gd name="connsiteY7" fmla="*/ 240417 h 250262"/>
                    <a:gd name="connsiteX8" fmla="*/ 144464 w 595428"/>
                    <a:gd name="connsiteY8" fmla="*/ 232144 h 250262"/>
                    <a:gd name="connsiteX9" fmla="*/ 148786 w 595428"/>
                    <a:gd name="connsiteY9" fmla="*/ 220773 h 250262"/>
                    <a:gd name="connsiteX10" fmla="*/ 174271 w 595428"/>
                    <a:gd name="connsiteY10" fmla="*/ 227599 h 250262"/>
                    <a:gd name="connsiteX11" fmla="*/ 194510 w 595428"/>
                    <a:gd name="connsiteY11" fmla="*/ 249685 h 250262"/>
                    <a:gd name="connsiteX12" fmla="*/ 215947 w 595428"/>
                    <a:gd name="connsiteY12" fmla="*/ 244937 h 250262"/>
                    <a:gd name="connsiteX13" fmla="*/ 259914 w 595428"/>
                    <a:gd name="connsiteY13" fmla="*/ 223270 h 250262"/>
                    <a:gd name="connsiteX14" fmla="*/ 274528 w 595428"/>
                    <a:gd name="connsiteY14" fmla="*/ 218460 h 250262"/>
                    <a:gd name="connsiteX15" fmla="*/ 285956 w 595428"/>
                    <a:gd name="connsiteY15" fmla="*/ 220456 h 250262"/>
                    <a:gd name="connsiteX16" fmla="*/ 316766 w 595428"/>
                    <a:gd name="connsiteY16" fmla="*/ 229251 h 250262"/>
                    <a:gd name="connsiteX17" fmla="*/ 401451 w 595428"/>
                    <a:gd name="connsiteY17" fmla="*/ 223358 h 250262"/>
                    <a:gd name="connsiteX18" fmla="*/ 460177 w 595428"/>
                    <a:gd name="connsiteY18" fmla="*/ 205004 h 250262"/>
                    <a:gd name="connsiteX19" fmla="*/ 472716 w 595428"/>
                    <a:gd name="connsiteY19" fmla="*/ 198842 h 250262"/>
                    <a:gd name="connsiteX20" fmla="*/ 489774 w 595428"/>
                    <a:gd name="connsiteY20" fmla="*/ 199205 h 250262"/>
                    <a:gd name="connsiteX21" fmla="*/ 566175 w 595428"/>
                    <a:gd name="connsiteY21" fmla="*/ 195520 h 250262"/>
                    <a:gd name="connsiteX22" fmla="*/ 578903 w 595428"/>
                    <a:gd name="connsiteY22" fmla="*/ 188575 h 250262"/>
                    <a:gd name="connsiteX23" fmla="*/ 581582 w 595428"/>
                    <a:gd name="connsiteY23" fmla="*/ 166479 h 250262"/>
                    <a:gd name="connsiteX24" fmla="*/ 587655 w 595428"/>
                    <a:gd name="connsiteY24" fmla="*/ 156143 h 250262"/>
                    <a:gd name="connsiteX25" fmla="*/ 582883 w 595428"/>
                    <a:gd name="connsiteY25" fmla="*/ 107073 h 250262"/>
                    <a:gd name="connsiteX26" fmla="*/ 594945 w 595428"/>
                    <a:gd name="connsiteY26" fmla="*/ 102554 h 250262"/>
                    <a:gd name="connsiteX27" fmla="*/ 582891 w 595428"/>
                    <a:gd name="connsiteY27" fmla="*/ 83810 h 250262"/>
                    <a:gd name="connsiteX28" fmla="*/ 563426 w 595428"/>
                    <a:gd name="connsiteY28" fmla="*/ 70055 h 250262"/>
                    <a:gd name="connsiteX29" fmla="*/ 561184 w 595428"/>
                    <a:gd name="connsiteY29" fmla="*/ 46344 h 250262"/>
                    <a:gd name="connsiteX30" fmla="*/ 522694 w 595428"/>
                    <a:gd name="connsiteY30" fmla="*/ 22034 h 250262"/>
                    <a:gd name="connsiteX31" fmla="*/ 475406 w 595428"/>
                    <a:gd name="connsiteY31" fmla="*/ 37824 h 250262"/>
                    <a:gd name="connsiteX32" fmla="*/ 398124 w 595428"/>
                    <a:gd name="connsiteY32" fmla="*/ 45165 h 250262"/>
                    <a:gd name="connsiteX33" fmla="*/ 363208 w 595428"/>
                    <a:gd name="connsiteY33" fmla="*/ 34298 h 250262"/>
                    <a:gd name="connsiteX34" fmla="*/ 307127 w 595428"/>
                    <a:gd name="connsiteY34" fmla="*/ 13725 h 250262"/>
                    <a:gd name="connsiteX35" fmla="*/ 242681 w 595428"/>
                    <a:gd name="connsiteY35" fmla="*/ 303 h 250262"/>
                    <a:gd name="connsiteX36" fmla="*/ 137647 w 595428"/>
                    <a:gd name="connsiteY36" fmla="*/ 35061 h 250262"/>
                    <a:gd name="connsiteX37" fmla="*/ 123479 w 595428"/>
                    <a:gd name="connsiteY37" fmla="*/ 38168 h 250262"/>
                    <a:gd name="connsiteX38" fmla="*/ 112632 w 595428"/>
                    <a:gd name="connsiteY38" fmla="*/ 56469 h 250262"/>
                    <a:gd name="connsiteX39" fmla="*/ 11737 w 595428"/>
                    <a:gd name="connsiteY39" fmla="*/ 75398 h 250262"/>
                    <a:gd name="connsiteX40" fmla="*/ 3574 w 595428"/>
                    <a:gd name="connsiteY40" fmla="*/ 104816 h 250262"/>
                    <a:gd name="connsiteX41" fmla="*/ 23812 w 595428"/>
                    <a:gd name="connsiteY41" fmla="*/ 119108 h 250262"/>
                    <a:gd name="connsiteX42" fmla="*/ 27283 w 595428"/>
                    <a:gd name="connsiteY42" fmla="*/ 150551 h 2502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</a:cxnLst>
                  <a:rect l="l" t="t" r="r" b="b"/>
                  <a:pathLst>
                    <a:path w="595428" h="250262">
                      <a:moveTo>
                        <a:pt x="27283" y="150551"/>
                      </a:moveTo>
                      <a:cubicBezTo>
                        <a:pt x="23679" y="151207"/>
                        <a:pt x="20078" y="151865"/>
                        <a:pt x="16476" y="152522"/>
                      </a:cubicBezTo>
                      <a:cubicBezTo>
                        <a:pt x="18499" y="163091"/>
                        <a:pt x="27253" y="172049"/>
                        <a:pt x="37771" y="174318"/>
                      </a:cubicBezTo>
                      <a:cubicBezTo>
                        <a:pt x="34511" y="181026"/>
                        <a:pt x="32962" y="188970"/>
                        <a:pt x="35525" y="195973"/>
                      </a:cubicBezTo>
                      <a:cubicBezTo>
                        <a:pt x="40372" y="209220"/>
                        <a:pt x="58318" y="213531"/>
                        <a:pt x="71377" y="208199"/>
                      </a:cubicBezTo>
                      <a:cubicBezTo>
                        <a:pt x="67158" y="210997"/>
                        <a:pt x="62942" y="213794"/>
                        <a:pt x="58724" y="216590"/>
                      </a:cubicBezTo>
                      <a:cubicBezTo>
                        <a:pt x="69080" y="222452"/>
                        <a:pt x="82920" y="213417"/>
                        <a:pt x="93739" y="218367"/>
                      </a:cubicBezTo>
                      <a:cubicBezTo>
                        <a:pt x="102692" y="222462"/>
                        <a:pt x="105345" y="234080"/>
                        <a:pt x="112880" y="240417"/>
                      </a:cubicBezTo>
                      <a:cubicBezTo>
                        <a:pt x="122627" y="248610"/>
                        <a:pt x="139985" y="244062"/>
                        <a:pt x="144464" y="232144"/>
                      </a:cubicBezTo>
                      <a:cubicBezTo>
                        <a:pt x="145899" y="228323"/>
                        <a:pt x="146226" y="223951"/>
                        <a:pt x="148786" y="220773"/>
                      </a:cubicBezTo>
                      <a:cubicBezTo>
                        <a:pt x="155209" y="212800"/>
                        <a:pt x="168429" y="219191"/>
                        <a:pt x="174271" y="227599"/>
                      </a:cubicBezTo>
                      <a:cubicBezTo>
                        <a:pt x="180114" y="236007"/>
                        <a:pt x="184631" y="247004"/>
                        <a:pt x="194510" y="249685"/>
                      </a:cubicBezTo>
                      <a:cubicBezTo>
                        <a:pt x="201741" y="251647"/>
                        <a:pt x="209227" y="248249"/>
                        <a:pt x="215947" y="244937"/>
                      </a:cubicBezTo>
                      <a:cubicBezTo>
                        <a:pt x="230604" y="237715"/>
                        <a:pt x="245256" y="230493"/>
                        <a:pt x="259914" y="223270"/>
                      </a:cubicBezTo>
                      <a:cubicBezTo>
                        <a:pt x="264550" y="220985"/>
                        <a:pt x="269363" y="218654"/>
                        <a:pt x="274528" y="218460"/>
                      </a:cubicBezTo>
                      <a:cubicBezTo>
                        <a:pt x="278409" y="218314"/>
                        <a:pt x="282221" y="219389"/>
                        <a:pt x="285956" y="220456"/>
                      </a:cubicBezTo>
                      <a:cubicBezTo>
                        <a:pt x="296225" y="223386"/>
                        <a:pt x="306495" y="226320"/>
                        <a:pt x="316766" y="229251"/>
                      </a:cubicBezTo>
                      <a:cubicBezTo>
                        <a:pt x="343110" y="218404"/>
                        <a:pt x="373030" y="225346"/>
                        <a:pt x="401451" y="223358"/>
                      </a:cubicBezTo>
                      <a:cubicBezTo>
                        <a:pt x="422096" y="221912"/>
                        <a:pt x="442383" y="215572"/>
                        <a:pt x="460177" y="205004"/>
                      </a:cubicBezTo>
                      <a:cubicBezTo>
                        <a:pt x="464197" y="202615"/>
                        <a:pt x="468181" y="199976"/>
                        <a:pt x="472716" y="198842"/>
                      </a:cubicBezTo>
                      <a:cubicBezTo>
                        <a:pt x="478268" y="197450"/>
                        <a:pt x="484100" y="198440"/>
                        <a:pt x="489774" y="199205"/>
                      </a:cubicBezTo>
                      <a:cubicBezTo>
                        <a:pt x="515182" y="202630"/>
                        <a:pt x="541214" y="201374"/>
                        <a:pt x="566175" y="195520"/>
                      </a:cubicBezTo>
                      <a:cubicBezTo>
                        <a:pt x="571008" y="194386"/>
                        <a:pt x="576245" y="192767"/>
                        <a:pt x="578903" y="188575"/>
                      </a:cubicBezTo>
                      <a:cubicBezTo>
                        <a:pt x="582927" y="182224"/>
                        <a:pt x="578967" y="173528"/>
                        <a:pt x="581582" y="166479"/>
                      </a:cubicBezTo>
                      <a:cubicBezTo>
                        <a:pt x="582976" y="162724"/>
                        <a:pt x="586106" y="159837"/>
                        <a:pt x="587655" y="156143"/>
                      </a:cubicBezTo>
                      <a:cubicBezTo>
                        <a:pt x="594416" y="140010"/>
                        <a:pt x="569452" y="118278"/>
                        <a:pt x="582883" y="107073"/>
                      </a:cubicBezTo>
                      <a:cubicBezTo>
                        <a:pt x="586903" y="105568"/>
                        <a:pt x="590926" y="104061"/>
                        <a:pt x="594945" y="102554"/>
                      </a:cubicBezTo>
                      <a:cubicBezTo>
                        <a:pt x="597393" y="94834"/>
                        <a:pt x="590105" y="87490"/>
                        <a:pt x="582891" y="83810"/>
                      </a:cubicBezTo>
                      <a:cubicBezTo>
                        <a:pt x="575673" y="80133"/>
                        <a:pt x="567096" y="77277"/>
                        <a:pt x="563426" y="70055"/>
                      </a:cubicBezTo>
                      <a:cubicBezTo>
                        <a:pt x="559798" y="62913"/>
                        <a:pt x="562444" y="54254"/>
                        <a:pt x="561184" y="46344"/>
                      </a:cubicBezTo>
                      <a:cubicBezTo>
                        <a:pt x="558558" y="29860"/>
                        <a:pt x="539336" y="20735"/>
                        <a:pt x="522694" y="22034"/>
                      </a:cubicBezTo>
                      <a:cubicBezTo>
                        <a:pt x="506053" y="23333"/>
                        <a:pt x="490994" y="31851"/>
                        <a:pt x="475406" y="37824"/>
                      </a:cubicBezTo>
                      <a:cubicBezTo>
                        <a:pt x="450916" y="47209"/>
                        <a:pt x="423818" y="50426"/>
                        <a:pt x="398124" y="45165"/>
                      </a:cubicBezTo>
                      <a:cubicBezTo>
                        <a:pt x="386170" y="42719"/>
                        <a:pt x="374663" y="38500"/>
                        <a:pt x="363208" y="34298"/>
                      </a:cubicBezTo>
                      <a:cubicBezTo>
                        <a:pt x="344514" y="27441"/>
                        <a:pt x="325822" y="20583"/>
                        <a:pt x="307127" y="13725"/>
                      </a:cubicBezTo>
                      <a:cubicBezTo>
                        <a:pt x="286348" y="6104"/>
                        <a:pt x="264728" y="-1639"/>
                        <a:pt x="242681" y="303"/>
                      </a:cubicBezTo>
                      <a:cubicBezTo>
                        <a:pt x="205706" y="3564"/>
                        <a:pt x="174726" y="33379"/>
                        <a:pt x="137647" y="35061"/>
                      </a:cubicBezTo>
                      <a:cubicBezTo>
                        <a:pt x="132731" y="35285"/>
                        <a:pt x="127358" y="35139"/>
                        <a:pt x="123479" y="38168"/>
                      </a:cubicBezTo>
                      <a:cubicBezTo>
                        <a:pt x="117823" y="42586"/>
                        <a:pt x="117986" y="51693"/>
                        <a:pt x="112632" y="56469"/>
                      </a:cubicBezTo>
                      <a:cubicBezTo>
                        <a:pt x="86119" y="80118"/>
                        <a:pt x="39462" y="57938"/>
                        <a:pt x="11737" y="75398"/>
                      </a:cubicBezTo>
                      <a:cubicBezTo>
                        <a:pt x="983" y="82174"/>
                        <a:pt x="-3852" y="92160"/>
                        <a:pt x="3574" y="104816"/>
                      </a:cubicBezTo>
                      <a:cubicBezTo>
                        <a:pt x="10048" y="115848"/>
                        <a:pt x="17612" y="110992"/>
                        <a:pt x="23812" y="119108"/>
                      </a:cubicBezTo>
                      <a:cubicBezTo>
                        <a:pt x="25522" y="121337"/>
                        <a:pt x="28415" y="150343"/>
                        <a:pt x="27283" y="150551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5" name="Forma libre 214">
                  <a:extLst>
                    <a:ext uri="{FF2B5EF4-FFF2-40B4-BE49-F238E27FC236}">
                      <a16:creationId xmlns:a16="http://schemas.microsoft.com/office/drawing/2014/main" id="{345E4F99-2636-D74D-9A18-84919D8F88B8}"/>
                    </a:ext>
                  </a:extLst>
                </p:cNvPr>
                <p:cNvSpPr/>
                <p:nvPr/>
              </p:nvSpPr>
              <p:spPr>
                <a:xfrm>
                  <a:off x="6755763" y="3963802"/>
                  <a:ext cx="221878" cy="183425"/>
                </a:xfrm>
                <a:custGeom>
                  <a:avLst/>
                  <a:gdLst>
                    <a:gd name="connsiteX0" fmla="*/ 25616 w 221878"/>
                    <a:gd name="connsiteY0" fmla="*/ 39907 h 183425"/>
                    <a:gd name="connsiteX1" fmla="*/ 14585 w 221878"/>
                    <a:gd name="connsiteY1" fmla="*/ 44413 h 183425"/>
                    <a:gd name="connsiteX2" fmla="*/ 12390 w 221878"/>
                    <a:gd name="connsiteY2" fmla="*/ 50954 h 183425"/>
                    <a:gd name="connsiteX3" fmla="*/ 8720 w 221878"/>
                    <a:gd name="connsiteY3" fmla="*/ 83243 h 183425"/>
                    <a:gd name="connsiteX4" fmla="*/ 14958 w 221878"/>
                    <a:gd name="connsiteY4" fmla="*/ 100968 h 183425"/>
                    <a:gd name="connsiteX5" fmla="*/ 21938 w 221878"/>
                    <a:gd name="connsiteY5" fmla="*/ 102930 h 183425"/>
                    <a:gd name="connsiteX6" fmla="*/ 17765 w 221878"/>
                    <a:gd name="connsiteY6" fmla="*/ 115385 h 183425"/>
                    <a:gd name="connsiteX7" fmla="*/ 780 w 221878"/>
                    <a:gd name="connsiteY7" fmla="*/ 146243 h 183425"/>
                    <a:gd name="connsiteX8" fmla="*/ 6385 w 221878"/>
                    <a:gd name="connsiteY8" fmla="*/ 174947 h 183425"/>
                    <a:gd name="connsiteX9" fmla="*/ 33247 w 221878"/>
                    <a:gd name="connsiteY9" fmla="*/ 180709 h 183425"/>
                    <a:gd name="connsiteX10" fmla="*/ 52792 w 221878"/>
                    <a:gd name="connsiteY10" fmla="*/ 163795 h 183425"/>
                    <a:gd name="connsiteX11" fmla="*/ 65986 w 221878"/>
                    <a:gd name="connsiteY11" fmla="*/ 164745 h 183425"/>
                    <a:gd name="connsiteX12" fmla="*/ 78198 w 221878"/>
                    <a:gd name="connsiteY12" fmla="*/ 161290 h 183425"/>
                    <a:gd name="connsiteX13" fmla="*/ 176360 w 221878"/>
                    <a:gd name="connsiteY13" fmla="*/ 86865 h 183425"/>
                    <a:gd name="connsiteX14" fmla="*/ 199952 w 221878"/>
                    <a:gd name="connsiteY14" fmla="*/ 36914 h 183425"/>
                    <a:gd name="connsiteX15" fmla="*/ 215600 w 221878"/>
                    <a:gd name="connsiteY15" fmla="*/ 22682 h 183425"/>
                    <a:gd name="connsiteX16" fmla="*/ 221011 w 221878"/>
                    <a:gd name="connsiteY16" fmla="*/ 3298 h 183425"/>
                    <a:gd name="connsiteX17" fmla="*/ 144014 w 221878"/>
                    <a:gd name="connsiteY17" fmla="*/ 16960 h 183425"/>
                    <a:gd name="connsiteX18" fmla="*/ 68289 w 221878"/>
                    <a:gd name="connsiteY18" fmla="*/ 24642 h 183425"/>
                    <a:gd name="connsiteX19" fmla="*/ 37647 w 221878"/>
                    <a:gd name="connsiteY19" fmla="*/ 21898 h 183425"/>
                    <a:gd name="connsiteX20" fmla="*/ 25616 w 221878"/>
                    <a:gd name="connsiteY20" fmla="*/ 39907 h 1834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21878" h="183425">
                      <a:moveTo>
                        <a:pt x="25616" y="39907"/>
                      </a:moveTo>
                      <a:cubicBezTo>
                        <a:pt x="22314" y="42207"/>
                        <a:pt x="17319" y="41464"/>
                        <a:pt x="14585" y="44413"/>
                      </a:cubicBezTo>
                      <a:cubicBezTo>
                        <a:pt x="12993" y="46130"/>
                        <a:pt x="12653" y="48627"/>
                        <a:pt x="12390" y="50954"/>
                      </a:cubicBezTo>
                      <a:cubicBezTo>
                        <a:pt x="11166" y="61716"/>
                        <a:pt x="9945" y="72481"/>
                        <a:pt x="8720" y="83243"/>
                      </a:cubicBezTo>
                      <a:cubicBezTo>
                        <a:pt x="7950" y="90022"/>
                        <a:pt x="8454" y="98913"/>
                        <a:pt x="14958" y="100968"/>
                      </a:cubicBezTo>
                      <a:cubicBezTo>
                        <a:pt x="17291" y="101705"/>
                        <a:pt x="20077" y="101346"/>
                        <a:pt x="21938" y="102930"/>
                      </a:cubicBezTo>
                      <a:cubicBezTo>
                        <a:pt x="25741" y="106170"/>
                        <a:pt x="21432" y="111994"/>
                        <a:pt x="17765" y="115385"/>
                      </a:cubicBezTo>
                      <a:cubicBezTo>
                        <a:pt x="8993" y="123492"/>
                        <a:pt x="2940" y="134493"/>
                        <a:pt x="780" y="146243"/>
                      </a:cubicBezTo>
                      <a:cubicBezTo>
                        <a:pt x="-1036" y="156132"/>
                        <a:pt x="118" y="167087"/>
                        <a:pt x="6385" y="174947"/>
                      </a:cubicBezTo>
                      <a:cubicBezTo>
                        <a:pt x="12653" y="182809"/>
                        <a:pt x="24858" y="186250"/>
                        <a:pt x="33247" y="180709"/>
                      </a:cubicBezTo>
                      <a:cubicBezTo>
                        <a:pt x="40564" y="175876"/>
                        <a:pt x="44180" y="165422"/>
                        <a:pt x="52792" y="163795"/>
                      </a:cubicBezTo>
                      <a:cubicBezTo>
                        <a:pt x="57144" y="162974"/>
                        <a:pt x="61558" y="164781"/>
                        <a:pt x="65986" y="164745"/>
                      </a:cubicBezTo>
                      <a:cubicBezTo>
                        <a:pt x="70247" y="164710"/>
                        <a:pt x="74288" y="162987"/>
                        <a:pt x="78198" y="161290"/>
                      </a:cubicBezTo>
                      <a:cubicBezTo>
                        <a:pt x="116755" y="144568"/>
                        <a:pt x="158463" y="124891"/>
                        <a:pt x="176360" y="86865"/>
                      </a:cubicBezTo>
                      <a:cubicBezTo>
                        <a:pt x="184253" y="70087"/>
                        <a:pt x="187130" y="50308"/>
                        <a:pt x="199952" y="36914"/>
                      </a:cubicBezTo>
                      <a:cubicBezTo>
                        <a:pt x="204832" y="31816"/>
                        <a:pt x="210910" y="27955"/>
                        <a:pt x="215600" y="22682"/>
                      </a:cubicBezTo>
                      <a:cubicBezTo>
                        <a:pt x="220289" y="17408"/>
                        <a:pt x="223504" y="9898"/>
                        <a:pt x="221011" y="3298"/>
                      </a:cubicBezTo>
                      <a:cubicBezTo>
                        <a:pt x="196273" y="-6810"/>
                        <a:pt x="169457" y="8789"/>
                        <a:pt x="144014" y="16960"/>
                      </a:cubicBezTo>
                      <a:cubicBezTo>
                        <a:pt x="119588" y="24803"/>
                        <a:pt x="93718" y="25629"/>
                        <a:pt x="68289" y="24642"/>
                      </a:cubicBezTo>
                      <a:cubicBezTo>
                        <a:pt x="61322" y="24371"/>
                        <a:pt x="43760" y="19381"/>
                        <a:pt x="37647" y="21898"/>
                      </a:cubicBezTo>
                      <a:cubicBezTo>
                        <a:pt x="29048" y="25446"/>
                        <a:pt x="32340" y="35225"/>
                        <a:pt x="25616" y="39907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6" name="Forma libre 215">
                  <a:extLst>
                    <a:ext uri="{FF2B5EF4-FFF2-40B4-BE49-F238E27FC236}">
                      <a16:creationId xmlns:a16="http://schemas.microsoft.com/office/drawing/2014/main" id="{80A7EEC3-056F-0E48-96EE-084964A0E268}"/>
                    </a:ext>
                  </a:extLst>
                </p:cNvPr>
                <p:cNvSpPr/>
                <p:nvPr/>
              </p:nvSpPr>
              <p:spPr>
                <a:xfrm>
                  <a:off x="4796891" y="2098701"/>
                  <a:ext cx="20923" cy="39064"/>
                </a:xfrm>
                <a:custGeom>
                  <a:avLst/>
                  <a:gdLst>
                    <a:gd name="connsiteX0" fmla="*/ 3571 w 20923"/>
                    <a:gd name="connsiteY0" fmla="*/ 1945 h 39064"/>
                    <a:gd name="connsiteX1" fmla="*/ 5580 w 20923"/>
                    <a:gd name="connsiteY1" fmla="*/ 10015 h 39064"/>
                    <a:gd name="connsiteX2" fmla="*/ 19724 w 20923"/>
                    <a:gd name="connsiteY2" fmla="*/ 39064 h 39064"/>
                    <a:gd name="connsiteX3" fmla="*/ 18014 w 20923"/>
                    <a:gd name="connsiteY3" fmla="*/ 15373 h 39064"/>
                    <a:gd name="connsiteX4" fmla="*/ 12260 w 20923"/>
                    <a:gd name="connsiteY4" fmla="*/ 3188 h 39064"/>
                    <a:gd name="connsiteX5" fmla="*/ 0 w 20923"/>
                    <a:gd name="connsiteY5" fmla="*/ 1723 h 39064"/>
                    <a:gd name="connsiteX6" fmla="*/ 3571 w 20923"/>
                    <a:gd name="connsiteY6" fmla="*/ 1945 h 390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0923" h="39064">
                      <a:moveTo>
                        <a:pt x="3571" y="1945"/>
                      </a:moveTo>
                      <a:cubicBezTo>
                        <a:pt x="3076" y="4723"/>
                        <a:pt x="4346" y="7478"/>
                        <a:pt x="5580" y="10015"/>
                      </a:cubicBezTo>
                      <a:cubicBezTo>
                        <a:pt x="10293" y="19698"/>
                        <a:pt x="15008" y="29380"/>
                        <a:pt x="19724" y="39064"/>
                      </a:cubicBezTo>
                      <a:cubicBezTo>
                        <a:pt x="22338" y="31453"/>
                        <a:pt x="20180" y="23124"/>
                        <a:pt x="18014" y="15373"/>
                      </a:cubicBezTo>
                      <a:cubicBezTo>
                        <a:pt x="16791" y="10997"/>
                        <a:pt x="15452" y="6419"/>
                        <a:pt x="12260" y="3188"/>
                      </a:cubicBezTo>
                      <a:cubicBezTo>
                        <a:pt x="9065" y="-43"/>
                        <a:pt x="3389" y="-1304"/>
                        <a:pt x="0" y="1723"/>
                      </a:cubicBezTo>
                      <a:lnTo>
                        <a:pt x="3571" y="1945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</p:grpSp>
          <p:sp>
            <p:nvSpPr>
              <p:cNvPr id="127" name="Forma libre 126">
                <a:extLst>
                  <a:ext uri="{FF2B5EF4-FFF2-40B4-BE49-F238E27FC236}">
                    <a16:creationId xmlns:a16="http://schemas.microsoft.com/office/drawing/2014/main" id="{65527E9E-7BC7-0043-8A3A-7D0BE12E5651}"/>
                  </a:ext>
                </a:extLst>
              </p:cNvPr>
              <p:cNvSpPr/>
              <p:nvPr/>
            </p:nvSpPr>
            <p:spPr>
              <a:xfrm>
                <a:off x="5290593" y="3745148"/>
                <a:ext cx="36255" cy="36255"/>
              </a:xfrm>
              <a:custGeom>
                <a:avLst/>
                <a:gdLst>
                  <a:gd name="connsiteX0" fmla="*/ 36255 w 36255"/>
                  <a:gd name="connsiteY0" fmla="*/ 18128 h 36255"/>
                  <a:gd name="connsiteX1" fmla="*/ 18127 w 36255"/>
                  <a:gd name="connsiteY1" fmla="*/ 36255 h 36255"/>
                  <a:gd name="connsiteX2" fmla="*/ 0 w 36255"/>
                  <a:gd name="connsiteY2" fmla="*/ 18128 h 36255"/>
                  <a:gd name="connsiteX3" fmla="*/ 18127 w 36255"/>
                  <a:gd name="connsiteY3" fmla="*/ 0 h 36255"/>
                  <a:gd name="connsiteX4" fmla="*/ 36255 w 36255"/>
                  <a:gd name="connsiteY4" fmla="*/ 18128 h 36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255" h="36255">
                    <a:moveTo>
                      <a:pt x="36255" y="18128"/>
                    </a:moveTo>
                    <a:cubicBezTo>
                      <a:pt x="36255" y="28139"/>
                      <a:pt x="28139" y="36255"/>
                      <a:pt x="18127" y="36255"/>
                    </a:cubicBezTo>
                    <a:cubicBezTo>
                      <a:pt x="8116" y="36255"/>
                      <a:pt x="0" y="28139"/>
                      <a:pt x="0" y="18128"/>
                    </a:cubicBezTo>
                    <a:cubicBezTo>
                      <a:pt x="0" y="8116"/>
                      <a:pt x="8116" y="0"/>
                      <a:pt x="18127" y="0"/>
                    </a:cubicBezTo>
                    <a:cubicBezTo>
                      <a:pt x="28139" y="0"/>
                      <a:pt x="36255" y="8116"/>
                      <a:pt x="36255" y="18128"/>
                    </a:cubicBezTo>
                    <a:close/>
                  </a:path>
                </a:pathLst>
              </a:custGeom>
              <a:grpFill/>
              <a:ln w="16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8" name="Forma libre 127">
                <a:extLst>
                  <a:ext uri="{FF2B5EF4-FFF2-40B4-BE49-F238E27FC236}">
                    <a16:creationId xmlns:a16="http://schemas.microsoft.com/office/drawing/2014/main" id="{E538288A-F724-294A-BC9F-BFC4E54F7B72}"/>
                  </a:ext>
                </a:extLst>
              </p:cNvPr>
              <p:cNvSpPr/>
              <p:nvPr/>
            </p:nvSpPr>
            <p:spPr>
              <a:xfrm>
                <a:off x="6163260" y="2854655"/>
                <a:ext cx="36255" cy="36255"/>
              </a:xfrm>
              <a:custGeom>
                <a:avLst/>
                <a:gdLst>
                  <a:gd name="connsiteX0" fmla="*/ 36255 w 36255"/>
                  <a:gd name="connsiteY0" fmla="*/ 18128 h 36255"/>
                  <a:gd name="connsiteX1" fmla="*/ 18128 w 36255"/>
                  <a:gd name="connsiteY1" fmla="*/ 36255 h 36255"/>
                  <a:gd name="connsiteX2" fmla="*/ 0 w 36255"/>
                  <a:gd name="connsiteY2" fmla="*/ 18128 h 36255"/>
                  <a:gd name="connsiteX3" fmla="*/ 18128 w 36255"/>
                  <a:gd name="connsiteY3" fmla="*/ 0 h 36255"/>
                  <a:gd name="connsiteX4" fmla="*/ 36255 w 36255"/>
                  <a:gd name="connsiteY4" fmla="*/ 18128 h 36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255" h="36255">
                    <a:moveTo>
                      <a:pt x="36255" y="18128"/>
                    </a:moveTo>
                    <a:cubicBezTo>
                      <a:pt x="36255" y="28139"/>
                      <a:pt x="28139" y="36255"/>
                      <a:pt x="18128" y="36255"/>
                    </a:cubicBezTo>
                    <a:cubicBezTo>
                      <a:pt x="8116" y="36255"/>
                      <a:pt x="0" y="28139"/>
                      <a:pt x="0" y="18128"/>
                    </a:cubicBezTo>
                    <a:cubicBezTo>
                      <a:pt x="0" y="8116"/>
                      <a:pt x="8116" y="0"/>
                      <a:pt x="18128" y="0"/>
                    </a:cubicBezTo>
                    <a:cubicBezTo>
                      <a:pt x="28139" y="0"/>
                      <a:pt x="36255" y="8116"/>
                      <a:pt x="36255" y="18128"/>
                    </a:cubicBezTo>
                    <a:close/>
                  </a:path>
                </a:pathLst>
              </a:custGeom>
              <a:grpFill/>
              <a:ln w="16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9" name="Forma libre 128">
                <a:extLst>
                  <a:ext uri="{FF2B5EF4-FFF2-40B4-BE49-F238E27FC236}">
                    <a16:creationId xmlns:a16="http://schemas.microsoft.com/office/drawing/2014/main" id="{53ECAD03-B15E-774E-B906-C14E5F796954}"/>
                  </a:ext>
                </a:extLst>
              </p:cNvPr>
              <p:cNvSpPr/>
              <p:nvPr/>
            </p:nvSpPr>
            <p:spPr>
              <a:xfrm>
                <a:off x="7024625" y="1819640"/>
                <a:ext cx="36255" cy="36255"/>
              </a:xfrm>
              <a:custGeom>
                <a:avLst/>
                <a:gdLst>
                  <a:gd name="connsiteX0" fmla="*/ 36255 w 36255"/>
                  <a:gd name="connsiteY0" fmla="*/ 18127 h 36255"/>
                  <a:gd name="connsiteX1" fmla="*/ 18127 w 36255"/>
                  <a:gd name="connsiteY1" fmla="*/ 36255 h 36255"/>
                  <a:gd name="connsiteX2" fmla="*/ 0 w 36255"/>
                  <a:gd name="connsiteY2" fmla="*/ 18127 h 36255"/>
                  <a:gd name="connsiteX3" fmla="*/ 18127 w 36255"/>
                  <a:gd name="connsiteY3" fmla="*/ 0 h 36255"/>
                  <a:gd name="connsiteX4" fmla="*/ 36255 w 36255"/>
                  <a:gd name="connsiteY4" fmla="*/ 18127 h 36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255" h="36255">
                    <a:moveTo>
                      <a:pt x="36255" y="18127"/>
                    </a:moveTo>
                    <a:cubicBezTo>
                      <a:pt x="36255" y="28139"/>
                      <a:pt x="28139" y="36255"/>
                      <a:pt x="18127" y="36255"/>
                    </a:cubicBezTo>
                    <a:cubicBezTo>
                      <a:pt x="8116" y="36255"/>
                      <a:pt x="0" y="28139"/>
                      <a:pt x="0" y="18127"/>
                    </a:cubicBezTo>
                    <a:cubicBezTo>
                      <a:pt x="0" y="8116"/>
                      <a:pt x="8116" y="0"/>
                      <a:pt x="18127" y="0"/>
                    </a:cubicBezTo>
                    <a:cubicBezTo>
                      <a:pt x="28139" y="0"/>
                      <a:pt x="36255" y="8116"/>
                      <a:pt x="36255" y="18127"/>
                    </a:cubicBezTo>
                    <a:close/>
                  </a:path>
                </a:pathLst>
              </a:custGeom>
              <a:grpFill/>
              <a:ln w="16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</p:grpSp>
        <p:grpSp>
          <p:nvGrpSpPr>
            <p:cNvPr id="79" name="Grupo 78">
              <a:extLst>
                <a:ext uri="{FF2B5EF4-FFF2-40B4-BE49-F238E27FC236}">
                  <a16:creationId xmlns:a16="http://schemas.microsoft.com/office/drawing/2014/main" id="{2C688826-43F2-8740-AD97-075852FEEEF2}"/>
                </a:ext>
              </a:extLst>
            </p:cNvPr>
            <p:cNvGrpSpPr/>
            <p:nvPr/>
          </p:nvGrpSpPr>
          <p:grpSpPr>
            <a:xfrm>
              <a:off x="8165446" y="189775"/>
              <a:ext cx="560376" cy="559938"/>
              <a:chOff x="2550322" y="104889"/>
              <a:chExt cx="1182013" cy="1181090"/>
            </a:xfrm>
            <a:solidFill>
              <a:schemeClr val="tx1"/>
            </a:solidFill>
          </p:grpSpPr>
          <p:sp>
            <p:nvSpPr>
              <p:cNvPr id="80" name="Forma libre 79">
                <a:extLst>
                  <a:ext uri="{FF2B5EF4-FFF2-40B4-BE49-F238E27FC236}">
                    <a16:creationId xmlns:a16="http://schemas.microsoft.com/office/drawing/2014/main" id="{A806F775-8E3E-9E41-8CD9-1534427A00BA}"/>
                  </a:ext>
                </a:extLst>
              </p:cNvPr>
              <p:cNvSpPr/>
              <p:nvPr/>
            </p:nvSpPr>
            <p:spPr>
              <a:xfrm>
                <a:off x="3051527" y="104889"/>
                <a:ext cx="178670" cy="170131"/>
              </a:xfrm>
              <a:custGeom>
                <a:avLst/>
                <a:gdLst>
                  <a:gd name="connsiteX0" fmla="*/ 544026 w 590115"/>
                  <a:gd name="connsiteY0" fmla="*/ 174903 h 561911"/>
                  <a:gd name="connsiteX1" fmla="*/ 428812 w 590115"/>
                  <a:gd name="connsiteY1" fmla="*/ 166665 h 561911"/>
                  <a:gd name="connsiteX2" fmla="*/ 387652 w 590115"/>
                  <a:gd name="connsiteY2" fmla="*/ 137847 h 561911"/>
                  <a:gd name="connsiteX3" fmla="*/ 342388 w 590115"/>
                  <a:gd name="connsiteY3" fmla="*/ 30870 h 561911"/>
                  <a:gd name="connsiteX4" fmla="*/ 247755 w 590115"/>
                  <a:gd name="connsiteY4" fmla="*/ 30870 h 561911"/>
                  <a:gd name="connsiteX5" fmla="*/ 202490 w 590115"/>
                  <a:gd name="connsiteY5" fmla="*/ 137847 h 561911"/>
                  <a:gd name="connsiteX6" fmla="*/ 161331 w 590115"/>
                  <a:gd name="connsiteY6" fmla="*/ 166665 h 561911"/>
                  <a:gd name="connsiteX7" fmla="*/ 46116 w 590115"/>
                  <a:gd name="connsiteY7" fmla="*/ 174903 h 561911"/>
                  <a:gd name="connsiteX8" fmla="*/ 17299 w 590115"/>
                  <a:gd name="connsiteY8" fmla="*/ 261328 h 561911"/>
                  <a:gd name="connsiteX9" fmla="*/ 107824 w 590115"/>
                  <a:gd name="connsiteY9" fmla="*/ 335380 h 561911"/>
                  <a:gd name="connsiteX10" fmla="*/ 124271 w 590115"/>
                  <a:gd name="connsiteY10" fmla="*/ 384749 h 561911"/>
                  <a:gd name="connsiteX11" fmla="*/ 95453 w 590115"/>
                  <a:gd name="connsiteY11" fmla="*/ 499963 h 561911"/>
                  <a:gd name="connsiteX12" fmla="*/ 169505 w 590115"/>
                  <a:gd name="connsiteY12" fmla="*/ 553464 h 561911"/>
                  <a:gd name="connsiteX13" fmla="*/ 268268 w 590115"/>
                  <a:gd name="connsiteY13" fmla="*/ 491754 h 561911"/>
                  <a:gd name="connsiteX14" fmla="*/ 321769 w 590115"/>
                  <a:gd name="connsiteY14" fmla="*/ 491754 h 561911"/>
                  <a:gd name="connsiteX15" fmla="*/ 420531 w 590115"/>
                  <a:gd name="connsiteY15" fmla="*/ 553464 h 561911"/>
                  <a:gd name="connsiteX16" fmla="*/ 494583 w 590115"/>
                  <a:gd name="connsiteY16" fmla="*/ 499963 h 561911"/>
                  <a:gd name="connsiteX17" fmla="*/ 465823 w 590115"/>
                  <a:gd name="connsiteY17" fmla="*/ 388885 h 561911"/>
                  <a:gd name="connsiteX18" fmla="*/ 482270 w 590115"/>
                  <a:gd name="connsiteY18" fmla="*/ 339517 h 561911"/>
                  <a:gd name="connsiteX19" fmla="*/ 572795 w 590115"/>
                  <a:gd name="connsiteY19" fmla="*/ 265435 h 561911"/>
                  <a:gd name="connsiteX20" fmla="*/ 544006 w 590115"/>
                  <a:gd name="connsiteY20" fmla="*/ 174910 h 561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90115" h="561911">
                    <a:moveTo>
                      <a:pt x="544026" y="174903"/>
                    </a:moveTo>
                    <a:lnTo>
                      <a:pt x="428812" y="166665"/>
                    </a:lnTo>
                    <a:cubicBezTo>
                      <a:pt x="408232" y="166665"/>
                      <a:pt x="391785" y="154323"/>
                      <a:pt x="387652" y="137847"/>
                    </a:cubicBezTo>
                    <a:lnTo>
                      <a:pt x="342388" y="30870"/>
                    </a:lnTo>
                    <a:cubicBezTo>
                      <a:pt x="325941" y="-10290"/>
                      <a:pt x="268336" y="-10290"/>
                      <a:pt x="247755" y="30870"/>
                    </a:cubicBezTo>
                    <a:lnTo>
                      <a:pt x="202490" y="137847"/>
                    </a:lnTo>
                    <a:cubicBezTo>
                      <a:pt x="194253" y="154294"/>
                      <a:pt x="177806" y="166665"/>
                      <a:pt x="161331" y="166665"/>
                    </a:cubicBezTo>
                    <a:lnTo>
                      <a:pt x="46116" y="174903"/>
                    </a:lnTo>
                    <a:cubicBezTo>
                      <a:pt x="852" y="179007"/>
                      <a:pt x="-15594" y="232508"/>
                      <a:pt x="17299" y="261328"/>
                    </a:cubicBezTo>
                    <a:lnTo>
                      <a:pt x="107824" y="335380"/>
                    </a:lnTo>
                    <a:cubicBezTo>
                      <a:pt x="120166" y="347722"/>
                      <a:pt x="128404" y="368302"/>
                      <a:pt x="124271" y="384749"/>
                    </a:cubicBezTo>
                    <a:lnTo>
                      <a:pt x="95453" y="499963"/>
                    </a:lnTo>
                    <a:cubicBezTo>
                      <a:pt x="83111" y="545227"/>
                      <a:pt x="132480" y="578151"/>
                      <a:pt x="169505" y="553464"/>
                    </a:cubicBezTo>
                    <a:lnTo>
                      <a:pt x="268268" y="491754"/>
                    </a:lnTo>
                    <a:cubicBezTo>
                      <a:pt x="284714" y="483516"/>
                      <a:pt x="305294" y="483516"/>
                      <a:pt x="321769" y="491754"/>
                    </a:cubicBezTo>
                    <a:lnTo>
                      <a:pt x="420531" y="553464"/>
                    </a:lnTo>
                    <a:cubicBezTo>
                      <a:pt x="457558" y="578149"/>
                      <a:pt x="506957" y="541122"/>
                      <a:pt x="494583" y="499963"/>
                    </a:cubicBezTo>
                    <a:lnTo>
                      <a:pt x="465823" y="388885"/>
                    </a:lnTo>
                    <a:cubicBezTo>
                      <a:pt x="461718" y="372439"/>
                      <a:pt x="465823" y="351859"/>
                      <a:pt x="482270" y="339517"/>
                    </a:cubicBezTo>
                    <a:lnTo>
                      <a:pt x="572795" y="265435"/>
                    </a:lnTo>
                    <a:cubicBezTo>
                      <a:pt x="605717" y="236647"/>
                      <a:pt x="589271" y="179039"/>
                      <a:pt x="544006" y="174910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2" name="Forma libre 111">
                <a:extLst>
                  <a:ext uri="{FF2B5EF4-FFF2-40B4-BE49-F238E27FC236}">
                    <a16:creationId xmlns:a16="http://schemas.microsoft.com/office/drawing/2014/main" id="{8B2B77FA-EE31-E04F-BF96-E9A80DD6404A}"/>
                  </a:ext>
                </a:extLst>
              </p:cNvPr>
              <p:cNvSpPr/>
              <p:nvPr/>
            </p:nvSpPr>
            <p:spPr>
              <a:xfrm>
                <a:off x="2799756" y="181955"/>
                <a:ext cx="178118" cy="175945"/>
              </a:xfrm>
              <a:custGeom>
                <a:avLst/>
                <a:gdLst>
                  <a:gd name="connsiteX0" fmla="*/ 495011 w 588289"/>
                  <a:gd name="connsiteY0" fmla="*/ 257797 h 581112"/>
                  <a:gd name="connsiteX1" fmla="*/ 482668 w 588289"/>
                  <a:gd name="connsiteY1" fmla="*/ 208428 h 581112"/>
                  <a:gd name="connsiteX2" fmla="*/ 519695 w 588289"/>
                  <a:gd name="connsiteY2" fmla="*/ 97321 h 581112"/>
                  <a:gd name="connsiteX3" fmla="*/ 449747 w 588289"/>
                  <a:gd name="connsiteY3" fmla="*/ 35611 h 581112"/>
                  <a:gd name="connsiteX4" fmla="*/ 342770 w 588289"/>
                  <a:gd name="connsiteY4" fmla="*/ 84980 h 581112"/>
                  <a:gd name="connsiteX5" fmla="*/ 289268 w 588289"/>
                  <a:gd name="connsiteY5" fmla="*/ 80876 h 581112"/>
                  <a:gd name="connsiteX6" fmla="*/ 202843 w 588289"/>
                  <a:gd name="connsiteY6" fmla="*/ 10899 h 581112"/>
                  <a:gd name="connsiteX7" fmla="*/ 120554 w 588289"/>
                  <a:gd name="connsiteY7" fmla="*/ 56163 h 581112"/>
                  <a:gd name="connsiteX8" fmla="*/ 137001 w 588289"/>
                  <a:gd name="connsiteY8" fmla="*/ 171378 h 581112"/>
                  <a:gd name="connsiteX9" fmla="*/ 116421 w 588289"/>
                  <a:gd name="connsiteY9" fmla="*/ 220746 h 581112"/>
                  <a:gd name="connsiteX10" fmla="*/ 21788 w 588289"/>
                  <a:gd name="connsiteY10" fmla="*/ 286590 h 581112"/>
                  <a:gd name="connsiteX11" fmla="*/ 42368 w 588289"/>
                  <a:gd name="connsiteY11" fmla="*/ 377115 h 581112"/>
                  <a:gd name="connsiteX12" fmla="*/ 157582 w 588289"/>
                  <a:gd name="connsiteY12" fmla="*/ 397695 h 581112"/>
                  <a:gd name="connsiteX13" fmla="*/ 194609 w 588289"/>
                  <a:gd name="connsiteY13" fmla="*/ 434722 h 581112"/>
                  <a:gd name="connsiteX14" fmla="*/ 227531 w 588289"/>
                  <a:gd name="connsiteY14" fmla="*/ 545829 h 581112"/>
                  <a:gd name="connsiteX15" fmla="*/ 318056 w 588289"/>
                  <a:gd name="connsiteY15" fmla="*/ 554067 h 581112"/>
                  <a:gd name="connsiteX16" fmla="*/ 375662 w 588289"/>
                  <a:gd name="connsiteY16" fmla="*/ 451197 h 581112"/>
                  <a:gd name="connsiteX17" fmla="*/ 420926 w 588289"/>
                  <a:gd name="connsiteY17" fmla="*/ 426512 h 581112"/>
                  <a:gd name="connsiteX18" fmla="*/ 536141 w 588289"/>
                  <a:gd name="connsiteY18" fmla="*/ 430617 h 581112"/>
                  <a:gd name="connsiteX19" fmla="*/ 573167 w 588289"/>
                  <a:gd name="connsiteY19" fmla="*/ 344191 h 581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88289" h="581112">
                    <a:moveTo>
                      <a:pt x="495011" y="257797"/>
                    </a:moveTo>
                    <a:cubicBezTo>
                      <a:pt x="482668" y="245455"/>
                      <a:pt x="478564" y="224875"/>
                      <a:pt x="482668" y="208428"/>
                    </a:cubicBezTo>
                    <a:lnTo>
                      <a:pt x="519695" y="97321"/>
                    </a:lnTo>
                    <a:cubicBezTo>
                      <a:pt x="536142" y="56162"/>
                      <a:pt x="490877" y="15033"/>
                      <a:pt x="449747" y="35611"/>
                    </a:cubicBezTo>
                    <a:lnTo>
                      <a:pt x="342770" y="84980"/>
                    </a:lnTo>
                    <a:cubicBezTo>
                      <a:pt x="326323" y="93218"/>
                      <a:pt x="305743" y="89084"/>
                      <a:pt x="289268" y="80876"/>
                    </a:cubicBezTo>
                    <a:lnTo>
                      <a:pt x="202843" y="10899"/>
                    </a:lnTo>
                    <a:cubicBezTo>
                      <a:pt x="165816" y="-17919"/>
                      <a:pt x="116417" y="15003"/>
                      <a:pt x="120554" y="56163"/>
                    </a:cubicBezTo>
                    <a:lnTo>
                      <a:pt x="137001" y="171378"/>
                    </a:lnTo>
                    <a:cubicBezTo>
                      <a:pt x="141105" y="191958"/>
                      <a:pt x="132896" y="208404"/>
                      <a:pt x="116421" y="220746"/>
                    </a:cubicBezTo>
                    <a:lnTo>
                      <a:pt x="21788" y="286590"/>
                    </a:lnTo>
                    <a:cubicBezTo>
                      <a:pt x="-15239" y="311274"/>
                      <a:pt x="-2896" y="368878"/>
                      <a:pt x="42368" y="377115"/>
                    </a:cubicBezTo>
                    <a:lnTo>
                      <a:pt x="157582" y="397695"/>
                    </a:lnTo>
                    <a:cubicBezTo>
                      <a:pt x="174029" y="401800"/>
                      <a:pt x="190504" y="414142"/>
                      <a:pt x="194609" y="434722"/>
                    </a:cubicBezTo>
                    <a:lnTo>
                      <a:pt x="227531" y="545829"/>
                    </a:lnTo>
                    <a:cubicBezTo>
                      <a:pt x="239873" y="586989"/>
                      <a:pt x="297479" y="595198"/>
                      <a:pt x="318056" y="554067"/>
                    </a:cubicBezTo>
                    <a:lnTo>
                      <a:pt x="375662" y="451197"/>
                    </a:lnTo>
                    <a:cubicBezTo>
                      <a:pt x="383900" y="434750"/>
                      <a:pt x="400347" y="426512"/>
                      <a:pt x="420926" y="426512"/>
                    </a:cubicBezTo>
                    <a:lnTo>
                      <a:pt x="536141" y="430617"/>
                    </a:lnTo>
                    <a:cubicBezTo>
                      <a:pt x="581405" y="430617"/>
                      <a:pt x="606089" y="377115"/>
                      <a:pt x="573167" y="344191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3" name="Forma libre 112">
                <a:extLst>
                  <a:ext uri="{FF2B5EF4-FFF2-40B4-BE49-F238E27FC236}">
                    <a16:creationId xmlns:a16="http://schemas.microsoft.com/office/drawing/2014/main" id="{32172252-4A56-9A42-A2D6-E51229875D5E}"/>
                  </a:ext>
                </a:extLst>
              </p:cNvPr>
              <p:cNvSpPr/>
              <p:nvPr/>
            </p:nvSpPr>
            <p:spPr>
              <a:xfrm>
                <a:off x="2625956" y="358067"/>
                <a:ext cx="176143" cy="177566"/>
              </a:xfrm>
              <a:custGeom>
                <a:avLst/>
                <a:gdLst>
                  <a:gd name="connsiteX0" fmla="*/ 81488 w 581768"/>
                  <a:gd name="connsiteY0" fmla="*/ 289236 h 586468"/>
                  <a:gd name="connsiteX1" fmla="*/ 85592 w 581768"/>
                  <a:gd name="connsiteY1" fmla="*/ 342738 h 586468"/>
                  <a:gd name="connsiteX2" fmla="*/ 36224 w 581768"/>
                  <a:gd name="connsiteY2" fmla="*/ 449715 h 586468"/>
                  <a:gd name="connsiteX3" fmla="*/ 97934 w 581768"/>
                  <a:gd name="connsiteY3" fmla="*/ 519663 h 586468"/>
                  <a:gd name="connsiteX4" fmla="*/ 209041 w 581768"/>
                  <a:gd name="connsiteY4" fmla="*/ 482636 h 586468"/>
                  <a:gd name="connsiteX5" fmla="*/ 258409 w 581768"/>
                  <a:gd name="connsiteY5" fmla="*/ 494979 h 586468"/>
                  <a:gd name="connsiteX6" fmla="*/ 344835 w 581768"/>
                  <a:gd name="connsiteY6" fmla="*/ 573167 h 586468"/>
                  <a:gd name="connsiteX7" fmla="*/ 431260 w 581768"/>
                  <a:gd name="connsiteY7" fmla="*/ 536141 h 586468"/>
                  <a:gd name="connsiteX8" fmla="*/ 427156 w 581768"/>
                  <a:gd name="connsiteY8" fmla="*/ 420926 h 586468"/>
                  <a:gd name="connsiteX9" fmla="*/ 451840 w 581768"/>
                  <a:gd name="connsiteY9" fmla="*/ 375662 h 586468"/>
                  <a:gd name="connsiteX10" fmla="*/ 554710 w 581768"/>
                  <a:gd name="connsiteY10" fmla="*/ 318056 h 586468"/>
                  <a:gd name="connsiteX11" fmla="*/ 546473 w 581768"/>
                  <a:gd name="connsiteY11" fmla="*/ 227531 h 586468"/>
                  <a:gd name="connsiteX12" fmla="*/ 435366 w 581768"/>
                  <a:gd name="connsiteY12" fmla="*/ 194609 h 586468"/>
                  <a:gd name="connsiteX13" fmla="*/ 398339 w 581768"/>
                  <a:gd name="connsiteY13" fmla="*/ 157582 h 586468"/>
                  <a:gd name="connsiteX14" fmla="*/ 377759 w 581768"/>
                  <a:gd name="connsiteY14" fmla="*/ 42368 h 586468"/>
                  <a:gd name="connsiteX15" fmla="*/ 287234 w 581768"/>
                  <a:gd name="connsiteY15" fmla="*/ 21788 h 586468"/>
                  <a:gd name="connsiteX16" fmla="*/ 221390 w 581768"/>
                  <a:gd name="connsiteY16" fmla="*/ 116421 h 586468"/>
                  <a:gd name="connsiteX17" fmla="*/ 172022 w 581768"/>
                  <a:gd name="connsiteY17" fmla="*/ 137001 h 586468"/>
                  <a:gd name="connsiteX18" fmla="*/ 56807 w 581768"/>
                  <a:gd name="connsiteY18" fmla="*/ 120554 h 586468"/>
                  <a:gd name="connsiteX19" fmla="*/ 11543 w 581768"/>
                  <a:gd name="connsiteY19" fmla="*/ 202842 h 586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81768" h="586468">
                    <a:moveTo>
                      <a:pt x="81488" y="289236"/>
                    </a:moveTo>
                    <a:cubicBezTo>
                      <a:pt x="93830" y="305683"/>
                      <a:pt x="93830" y="326263"/>
                      <a:pt x="85592" y="342738"/>
                    </a:cubicBezTo>
                    <a:lnTo>
                      <a:pt x="36224" y="449715"/>
                    </a:lnTo>
                    <a:cubicBezTo>
                      <a:pt x="15644" y="490875"/>
                      <a:pt x="56803" y="532004"/>
                      <a:pt x="97934" y="519663"/>
                    </a:cubicBezTo>
                    <a:lnTo>
                      <a:pt x="209041" y="482636"/>
                    </a:lnTo>
                    <a:cubicBezTo>
                      <a:pt x="225487" y="474399"/>
                      <a:pt x="246067" y="482636"/>
                      <a:pt x="258409" y="494979"/>
                    </a:cubicBezTo>
                    <a:lnTo>
                      <a:pt x="344835" y="573167"/>
                    </a:lnTo>
                    <a:cubicBezTo>
                      <a:pt x="377757" y="601985"/>
                      <a:pt x="431260" y="581405"/>
                      <a:pt x="431260" y="536141"/>
                    </a:cubicBezTo>
                    <a:lnTo>
                      <a:pt x="427156" y="420926"/>
                    </a:lnTo>
                    <a:cubicBezTo>
                      <a:pt x="427156" y="400346"/>
                      <a:pt x="435394" y="383900"/>
                      <a:pt x="451840" y="375662"/>
                    </a:cubicBezTo>
                    <a:lnTo>
                      <a:pt x="554710" y="318056"/>
                    </a:lnTo>
                    <a:cubicBezTo>
                      <a:pt x="595870" y="297476"/>
                      <a:pt x="587633" y="239868"/>
                      <a:pt x="546473" y="227531"/>
                    </a:cubicBezTo>
                    <a:lnTo>
                      <a:pt x="435366" y="194609"/>
                    </a:lnTo>
                    <a:cubicBezTo>
                      <a:pt x="418919" y="190504"/>
                      <a:pt x="402444" y="174029"/>
                      <a:pt x="398339" y="157582"/>
                    </a:cubicBezTo>
                    <a:lnTo>
                      <a:pt x="377759" y="42368"/>
                    </a:lnTo>
                    <a:cubicBezTo>
                      <a:pt x="369522" y="-2897"/>
                      <a:pt x="311916" y="-15238"/>
                      <a:pt x="287234" y="21788"/>
                    </a:cubicBezTo>
                    <a:lnTo>
                      <a:pt x="221390" y="116421"/>
                    </a:lnTo>
                    <a:cubicBezTo>
                      <a:pt x="209048" y="132867"/>
                      <a:pt x="192573" y="141105"/>
                      <a:pt x="172022" y="137001"/>
                    </a:cubicBezTo>
                    <a:lnTo>
                      <a:pt x="56807" y="120554"/>
                    </a:lnTo>
                    <a:cubicBezTo>
                      <a:pt x="11543" y="116449"/>
                      <a:pt x="-17245" y="165818"/>
                      <a:pt x="11543" y="202842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5" name="Forma libre 114">
                <a:extLst>
                  <a:ext uri="{FF2B5EF4-FFF2-40B4-BE49-F238E27FC236}">
                    <a16:creationId xmlns:a16="http://schemas.microsoft.com/office/drawing/2014/main" id="{7FABECB2-E2F7-7945-AD53-9152F61AD3DB}"/>
                  </a:ext>
                </a:extLst>
              </p:cNvPr>
              <p:cNvSpPr/>
              <p:nvPr/>
            </p:nvSpPr>
            <p:spPr>
              <a:xfrm>
                <a:off x="2550322" y="606098"/>
                <a:ext cx="170140" cy="178683"/>
              </a:xfrm>
              <a:custGeom>
                <a:avLst/>
                <a:gdLst>
                  <a:gd name="connsiteX0" fmla="*/ 335409 w 561941"/>
                  <a:gd name="connsiteY0" fmla="*/ 486392 h 590155"/>
                  <a:gd name="connsiteX1" fmla="*/ 384778 w 561941"/>
                  <a:gd name="connsiteY1" fmla="*/ 469945 h 590155"/>
                  <a:gd name="connsiteX2" fmla="*/ 499992 w 561941"/>
                  <a:gd name="connsiteY2" fmla="*/ 498762 h 590155"/>
                  <a:gd name="connsiteX3" fmla="*/ 553494 w 561941"/>
                  <a:gd name="connsiteY3" fmla="*/ 424711 h 590155"/>
                  <a:gd name="connsiteX4" fmla="*/ 491783 w 561941"/>
                  <a:gd name="connsiteY4" fmla="*/ 325948 h 590155"/>
                  <a:gd name="connsiteX5" fmla="*/ 491783 w 561941"/>
                  <a:gd name="connsiteY5" fmla="*/ 272447 h 590155"/>
                  <a:gd name="connsiteX6" fmla="*/ 553494 w 561941"/>
                  <a:gd name="connsiteY6" fmla="*/ 173684 h 590155"/>
                  <a:gd name="connsiteX7" fmla="*/ 499992 w 561941"/>
                  <a:gd name="connsiteY7" fmla="*/ 99633 h 590155"/>
                  <a:gd name="connsiteX8" fmla="*/ 384778 w 561941"/>
                  <a:gd name="connsiteY8" fmla="*/ 128450 h 590155"/>
                  <a:gd name="connsiteX9" fmla="*/ 335409 w 561941"/>
                  <a:gd name="connsiteY9" fmla="*/ 112003 h 590155"/>
                  <a:gd name="connsiteX10" fmla="*/ 261328 w 561941"/>
                  <a:gd name="connsiteY10" fmla="*/ 17312 h 590155"/>
                  <a:gd name="connsiteX11" fmla="*/ 174903 w 561941"/>
                  <a:gd name="connsiteY11" fmla="*/ 46129 h 590155"/>
                  <a:gd name="connsiteX12" fmla="*/ 166665 w 561941"/>
                  <a:gd name="connsiteY12" fmla="*/ 161344 h 590155"/>
                  <a:gd name="connsiteX13" fmla="*/ 137847 w 561941"/>
                  <a:gd name="connsiteY13" fmla="*/ 202503 h 590155"/>
                  <a:gd name="connsiteX14" fmla="*/ 30870 w 561941"/>
                  <a:gd name="connsiteY14" fmla="*/ 247768 h 590155"/>
                  <a:gd name="connsiteX15" fmla="*/ 30870 w 561941"/>
                  <a:gd name="connsiteY15" fmla="*/ 342401 h 590155"/>
                  <a:gd name="connsiteX16" fmla="*/ 137847 w 561941"/>
                  <a:gd name="connsiteY16" fmla="*/ 387665 h 590155"/>
                  <a:gd name="connsiteX17" fmla="*/ 166665 w 561941"/>
                  <a:gd name="connsiteY17" fmla="*/ 428825 h 590155"/>
                  <a:gd name="connsiteX18" fmla="*/ 174903 w 561941"/>
                  <a:gd name="connsiteY18" fmla="*/ 544039 h 590155"/>
                  <a:gd name="connsiteX19" fmla="*/ 261328 w 561941"/>
                  <a:gd name="connsiteY19" fmla="*/ 572857 h 590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61941" h="590155">
                    <a:moveTo>
                      <a:pt x="335409" y="486392"/>
                    </a:moveTo>
                    <a:cubicBezTo>
                      <a:pt x="347751" y="474049"/>
                      <a:pt x="368331" y="465812"/>
                      <a:pt x="384778" y="469945"/>
                    </a:cubicBezTo>
                    <a:lnTo>
                      <a:pt x="499992" y="498762"/>
                    </a:lnTo>
                    <a:cubicBezTo>
                      <a:pt x="545257" y="511104"/>
                      <a:pt x="578181" y="461736"/>
                      <a:pt x="553494" y="424711"/>
                    </a:cubicBezTo>
                    <a:lnTo>
                      <a:pt x="491783" y="325948"/>
                    </a:lnTo>
                    <a:cubicBezTo>
                      <a:pt x="483546" y="309501"/>
                      <a:pt x="483546" y="288921"/>
                      <a:pt x="491783" y="272447"/>
                    </a:cubicBezTo>
                    <a:lnTo>
                      <a:pt x="553494" y="173684"/>
                    </a:lnTo>
                    <a:cubicBezTo>
                      <a:pt x="578178" y="136658"/>
                      <a:pt x="541151" y="87259"/>
                      <a:pt x="499992" y="99633"/>
                    </a:cubicBezTo>
                    <a:lnTo>
                      <a:pt x="384778" y="128450"/>
                    </a:lnTo>
                    <a:cubicBezTo>
                      <a:pt x="368331" y="132555"/>
                      <a:pt x="347751" y="128450"/>
                      <a:pt x="335409" y="112003"/>
                    </a:cubicBezTo>
                    <a:lnTo>
                      <a:pt x="261328" y="17312"/>
                    </a:lnTo>
                    <a:cubicBezTo>
                      <a:pt x="232510" y="-15610"/>
                      <a:pt x="174903" y="865"/>
                      <a:pt x="174903" y="46129"/>
                    </a:cubicBezTo>
                    <a:lnTo>
                      <a:pt x="166665" y="161344"/>
                    </a:lnTo>
                    <a:cubicBezTo>
                      <a:pt x="166665" y="181923"/>
                      <a:pt x="154323" y="198370"/>
                      <a:pt x="137847" y="202503"/>
                    </a:cubicBezTo>
                    <a:lnTo>
                      <a:pt x="30870" y="247768"/>
                    </a:lnTo>
                    <a:cubicBezTo>
                      <a:pt x="-10290" y="264214"/>
                      <a:pt x="-10290" y="321819"/>
                      <a:pt x="30870" y="342401"/>
                    </a:cubicBezTo>
                    <a:lnTo>
                      <a:pt x="137847" y="387665"/>
                    </a:lnTo>
                    <a:cubicBezTo>
                      <a:pt x="154294" y="395903"/>
                      <a:pt x="166665" y="412349"/>
                      <a:pt x="166665" y="428825"/>
                    </a:cubicBezTo>
                    <a:lnTo>
                      <a:pt x="174903" y="544039"/>
                    </a:lnTo>
                    <a:cubicBezTo>
                      <a:pt x="179007" y="589303"/>
                      <a:pt x="232508" y="605749"/>
                      <a:pt x="261328" y="572857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6" name="Forma libre 115">
                <a:extLst>
                  <a:ext uri="{FF2B5EF4-FFF2-40B4-BE49-F238E27FC236}">
                    <a16:creationId xmlns:a16="http://schemas.microsoft.com/office/drawing/2014/main" id="{156B3AC5-1E5B-D94D-9805-B9554AB3E6F6}"/>
                  </a:ext>
                </a:extLst>
              </p:cNvPr>
              <p:cNvSpPr/>
              <p:nvPr/>
            </p:nvSpPr>
            <p:spPr>
              <a:xfrm>
                <a:off x="2626144" y="858422"/>
                <a:ext cx="175948" cy="178118"/>
              </a:xfrm>
              <a:custGeom>
                <a:avLst/>
                <a:gdLst>
                  <a:gd name="connsiteX0" fmla="*/ 554069 w 581124"/>
                  <a:gd name="connsiteY0" fmla="*/ 270233 h 588291"/>
                  <a:gd name="connsiteX1" fmla="*/ 451199 w 581124"/>
                  <a:gd name="connsiteY1" fmla="*/ 212627 h 588291"/>
                  <a:gd name="connsiteX2" fmla="*/ 426514 w 581124"/>
                  <a:gd name="connsiteY2" fmla="*/ 167363 h 588291"/>
                  <a:gd name="connsiteX3" fmla="*/ 430619 w 581124"/>
                  <a:gd name="connsiteY3" fmla="*/ 52148 h 588291"/>
                  <a:gd name="connsiteX4" fmla="*/ 344193 w 581124"/>
                  <a:gd name="connsiteY4" fmla="*/ 15122 h 588291"/>
                  <a:gd name="connsiteX5" fmla="*/ 257797 w 581124"/>
                  <a:gd name="connsiteY5" fmla="*/ 93281 h 588291"/>
                  <a:gd name="connsiteX6" fmla="*/ 208428 w 581124"/>
                  <a:gd name="connsiteY6" fmla="*/ 105623 h 588291"/>
                  <a:gd name="connsiteX7" fmla="*/ 97321 w 581124"/>
                  <a:gd name="connsiteY7" fmla="*/ 68597 h 588291"/>
                  <a:gd name="connsiteX8" fmla="*/ 35611 w 581124"/>
                  <a:gd name="connsiteY8" fmla="*/ 138545 h 588291"/>
                  <a:gd name="connsiteX9" fmla="*/ 84980 w 581124"/>
                  <a:gd name="connsiteY9" fmla="*/ 245522 h 588291"/>
                  <a:gd name="connsiteX10" fmla="*/ 80876 w 581124"/>
                  <a:gd name="connsiteY10" fmla="*/ 299023 h 588291"/>
                  <a:gd name="connsiteX11" fmla="*/ 10899 w 581124"/>
                  <a:gd name="connsiteY11" fmla="*/ 385449 h 588291"/>
                  <a:gd name="connsiteX12" fmla="*/ 56163 w 581124"/>
                  <a:gd name="connsiteY12" fmla="*/ 467737 h 588291"/>
                  <a:gd name="connsiteX13" fmla="*/ 171378 w 581124"/>
                  <a:gd name="connsiteY13" fmla="*/ 451291 h 588291"/>
                  <a:gd name="connsiteX14" fmla="*/ 220746 w 581124"/>
                  <a:gd name="connsiteY14" fmla="*/ 471871 h 588291"/>
                  <a:gd name="connsiteX15" fmla="*/ 286590 w 581124"/>
                  <a:gd name="connsiteY15" fmla="*/ 566504 h 588291"/>
                  <a:gd name="connsiteX16" fmla="*/ 377115 w 581124"/>
                  <a:gd name="connsiteY16" fmla="*/ 545924 h 588291"/>
                  <a:gd name="connsiteX17" fmla="*/ 397695 w 581124"/>
                  <a:gd name="connsiteY17" fmla="*/ 430709 h 588291"/>
                  <a:gd name="connsiteX18" fmla="*/ 434722 w 581124"/>
                  <a:gd name="connsiteY18" fmla="*/ 393683 h 588291"/>
                  <a:gd name="connsiteX19" fmla="*/ 545829 w 581124"/>
                  <a:gd name="connsiteY19" fmla="*/ 360761 h 588291"/>
                  <a:gd name="connsiteX20" fmla="*/ 554067 w 581124"/>
                  <a:gd name="connsiteY20" fmla="*/ 270235 h 588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81124" h="588291">
                    <a:moveTo>
                      <a:pt x="554069" y="270233"/>
                    </a:moveTo>
                    <a:lnTo>
                      <a:pt x="451199" y="212627"/>
                    </a:lnTo>
                    <a:cubicBezTo>
                      <a:pt x="434752" y="204390"/>
                      <a:pt x="426514" y="187943"/>
                      <a:pt x="426514" y="167363"/>
                    </a:cubicBezTo>
                    <a:lnTo>
                      <a:pt x="430619" y="52148"/>
                    </a:lnTo>
                    <a:cubicBezTo>
                      <a:pt x="430619" y="6884"/>
                      <a:pt x="377118" y="-17800"/>
                      <a:pt x="344193" y="15122"/>
                    </a:cubicBezTo>
                    <a:lnTo>
                      <a:pt x="257797" y="93281"/>
                    </a:lnTo>
                    <a:cubicBezTo>
                      <a:pt x="245455" y="105623"/>
                      <a:pt x="224875" y="109728"/>
                      <a:pt x="208428" y="105623"/>
                    </a:cubicBezTo>
                    <a:lnTo>
                      <a:pt x="97321" y="68597"/>
                    </a:lnTo>
                    <a:cubicBezTo>
                      <a:pt x="56162" y="52150"/>
                      <a:pt x="15033" y="97414"/>
                      <a:pt x="35611" y="138545"/>
                    </a:cubicBezTo>
                    <a:lnTo>
                      <a:pt x="84980" y="245522"/>
                    </a:lnTo>
                    <a:cubicBezTo>
                      <a:pt x="93218" y="261969"/>
                      <a:pt x="89084" y="282549"/>
                      <a:pt x="80876" y="299023"/>
                    </a:cubicBezTo>
                    <a:lnTo>
                      <a:pt x="10899" y="385449"/>
                    </a:lnTo>
                    <a:cubicBezTo>
                      <a:pt x="-17919" y="422475"/>
                      <a:pt x="15003" y="471874"/>
                      <a:pt x="56163" y="467737"/>
                    </a:cubicBezTo>
                    <a:lnTo>
                      <a:pt x="171378" y="451291"/>
                    </a:lnTo>
                    <a:cubicBezTo>
                      <a:pt x="191958" y="447186"/>
                      <a:pt x="208404" y="455395"/>
                      <a:pt x="220746" y="471871"/>
                    </a:cubicBezTo>
                    <a:lnTo>
                      <a:pt x="286590" y="566504"/>
                    </a:lnTo>
                    <a:cubicBezTo>
                      <a:pt x="311274" y="603530"/>
                      <a:pt x="368879" y="591188"/>
                      <a:pt x="377115" y="545924"/>
                    </a:cubicBezTo>
                    <a:lnTo>
                      <a:pt x="397695" y="430709"/>
                    </a:lnTo>
                    <a:cubicBezTo>
                      <a:pt x="401800" y="410130"/>
                      <a:pt x="414142" y="397787"/>
                      <a:pt x="434722" y="393683"/>
                    </a:cubicBezTo>
                    <a:lnTo>
                      <a:pt x="545829" y="360761"/>
                    </a:lnTo>
                    <a:cubicBezTo>
                      <a:pt x="586989" y="348390"/>
                      <a:pt x="595226" y="290784"/>
                      <a:pt x="554067" y="270235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7" name="Forma libre 116">
                <a:extLst>
                  <a:ext uri="{FF2B5EF4-FFF2-40B4-BE49-F238E27FC236}">
                    <a16:creationId xmlns:a16="http://schemas.microsoft.com/office/drawing/2014/main" id="{C202F66D-8BA9-4B44-BD93-4D00F427A211}"/>
                  </a:ext>
                </a:extLst>
              </p:cNvPr>
              <p:cNvSpPr/>
              <p:nvPr/>
            </p:nvSpPr>
            <p:spPr>
              <a:xfrm>
                <a:off x="2799762" y="1035452"/>
                <a:ext cx="178989" cy="176143"/>
              </a:xfrm>
              <a:custGeom>
                <a:avLst/>
                <a:gdLst>
                  <a:gd name="connsiteX0" fmla="*/ 536141 w 591166"/>
                  <a:gd name="connsiteY0" fmla="*/ 150508 h 581768"/>
                  <a:gd name="connsiteX1" fmla="*/ 420926 w 591166"/>
                  <a:gd name="connsiteY1" fmla="*/ 154612 h 581768"/>
                  <a:gd name="connsiteX2" fmla="*/ 375662 w 591166"/>
                  <a:gd name="connsiteY2" fmla="*/ 129928 h 581768"/>
                  <a:gd name="connsiteX3" fmla="*/ 318056 w 591166"/>
                  <a:gd name="connsiteY3" fmla="*/ 27058 h 581768"/>
                  <a:gd name="connsiteX4" fmla="*/ 227531 w 591166"/>
                  <a:gd name="connsiteY4" fmla="*/ 35296 h 581768"/>
                  <a:gd name="connsiteX5" fmla="*/ 194608 w 591166"/>
                  <a:gd name="connsiteY5" fmla="*/ 146403 h 581768"/>
                  <a:gd name="connsiteX6" fmla="*/ 157582 w 591166"/>
                  <a:gd name="connsiteY6" fmla="*/ 183429 h 581768"/>
                  <a:gd name="connsiteX7" fmla="*/ 42367 w 591166"/>
                  <a:gd name="connsiteY7" fmla="*/ 204009 h 581768"/>
                  <a:gd name="connsiteX8" fmla="*/ 21788 w 591166"/>
                  <a:gd name="connsiteY8" fmla="*/ 294535 h 581768"/>
                  <a:gd name="connsiteX9" fmla="*/ 116421 w 591166"/>
                  <a:gd name="connsiteY9" fmla="*/ 360378 h 581768"/>
                  <a:gd name="connsiteX10" fmla="*/ 137001 w 591166"/>
                  <a:gd name="connsiteY10" fmla="*/ 409747 h 581768"/>
                  <a:gd name="connsiteX11" fmla="*/ 120554 w 591166"/>
                  <a:gd name="connsiteY11" fmla="*/ 524961 h 581768"/>
                  <a:gd name="connsiteX12" fmla="*/ 202843 w 591166"/>
                  <a:gd name="connsiteY12" fmla="*/ 570226 h 581768"/>
                  <a:gd name="connsiteX13" fmla="*/ 297476 w 591166"/>
                  <a:gd name="connsiteY13" fmla="*/ 500278 h 581768"/>
                  <a:gd name="connsiteX14" fmla="*/ 350977 w 591166"/>
                  <a:gd name="connsiteY14" fmla="*/ 496173 h 581768"/>
                  <a:gd name="connsiteX15" fmla="*/ 457954 w 591166"/>
                  <a:gd name="connsiteY15" fmla="*/ 545542 h 581768"/>
                  <a:gd name="connsiteX16" fmla="*/ 527902 w 591166"/>
                  <a:gd name="connsiteY16" fmla="*/ 483832 h 581768"/>
                  <a:gd name="connsiteX17" fmla="*/ 490876 w 591166"/>
                  <a:gd name="connsiteY17" fmla="*/ 372725 h 581768"/>
                  <a:gd name="connsiteX18" fmla="*/ 503218 w 591166"/>
                  <a:gd name="connsiteY18" fmla="*/ 323356 h 581768"/>
                  <a:gd name="connsiteX19" fmla="*/ 581406 w 591166"/>
                  <a:gd name="connsiteY19" fmla="*/ 236931 h 581768"/>
                  <a:gd name="connsiteX20" fmla="*/ 536142 w 591166"/>
                  <a:gd name="connsiteY20" fmla="*/ 150505 h 581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91166" h="581768">
                    <a:moveTo>
                      <a:pt x="536141" y="150508"/>
                    </a:moveTo>
                    <a:lnTo>
                      <a:pt x="420926" y="154612"/>
                    </a:lnTo>
                    <a:cubicBezTo>
                      <a:pt x="400346" y="154612"/>
                      <a:pt x="383900" y="146375"/>
                      <a:pt x="375662" y="129928"/>
                    </a:cubicBezTo>
                    <a:lnTo>
                      <a:pt x="318056" y="27058"/>
                    </a:lnTo>
                    <a:cubicBezTo>
                      <a:pt x="297476" y="-14102"/>
                      <a:pt x="239868" y="-5864"/>
                      <a:pt x="227531" y="35296"/>
                    </a:cubicBezTo>
                    <a:lnTo>
                      <a:pt x="194608" y="146403"/>
                    </a:lnTo>
                    <a:cubicBezTo>
                      <a:pt x="190504" y="162849"/>
                      <a:pt x="174029" y="179325"/>
                      <a:pt x="157582" y="183429"/>
                    </a:cubicBezTo>
                    <a:lnTo>
                      <a:pt x="42367" y="204009"/>
                    </a:lnTo>
                    <a:cubicBezTo>
                      <a:pt x="-2897" y="212247"/>
                      <a:pt x="-15238" y="269853"/>
                      <a:pt x="21788" y="294535"/>
                    </a:cubicBezTo>
                    <a:lnTo>
                      <a:pt x="116421" y="360378"/>
                    </a:lnTo>
                    <a:cubicBezTo>
                      <a:pt x="132867" y="372720"/>
                      <a:pt x="141105" y="389196"/>
                      <a:pt x="137001" y="409747"/>
                    </a:cubicBezTo>
                    <a:lnTo>
                      <a:pt x="120554" y="524961"/>
                    </a:lnTo>
                    <a:cubicBezTo>
                      <a:pt x="116449" y="570226"/>
                      <a:pt x="165818" y="599013"/>
                      <a:pt x="202843" y="570226"/>
                    </a:cubicBezTo>
                    <a:lnTo>
                      <a:pt x="297476" y="500278"/>
                    </a:lnTo>
                    <a:cubicBezTo>
                      <a:pt x="313922" y="487935"/>
                      <a:pt x="334502" y="487935"/>
                      <a:pt x="350977" y="496173"/>
                    </a:cubicBezTo>
                    <a:lnTo>
                      <a:pt x="457954" y="545542"/>
                    </a:lnTo>
                    <a:cubicBezTo>
                      <a:pt x="499114" y="566122"/>
                      <a:pt x="540243" y="524962"/>
                      <a:pt x="527902" y="483832"/>
                    </a:cubicBezTo>
                    <a:lnTo>
                      <a:pt x="490876" y="372725"/>
                    </a:lnTo>
                    <a:cubicBezTo>
                      <a:pt x="482638" y="356278"/>
                      <a:pt x="490876" y="335698"/>
                      <a:pt x="503218" y="323356"/>
                    </a:cubicBezTo>
                    <a:lnTo>
                      <a:pt x="581406" y="236931"/>
                    </a:lnTo>
                    <a:cubicBezTo>
                      <a:pt x="606091" y="199904"/>
                      <a:pt x="581378" y="146405"/>
                      <a:pt x="536142" y="150505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8" name="Forma libre 117">
                <a:extLst>
                  <a:ext uri="{FF2B5EF4-FFF2-40B4-BE49-F238E27FC236}">
                    <a16:creationId xmlns:a16="http://schemas.microsoft.com/office/drawing/2014/main" id="{EC9B6DEF-440E-5943-9760-9C085C5868A2}"/>
                  </a:ext>
                </a:extLst>
              </p:cNvPr>
              <p:cNvSpPr/>
              <p:nvPr/>
            </p:nvSpPr>
            <p:spPr>
              <a:xfrm>
                <a:off x="3050289" y="1115839"/>
                <a:ext cx="178683" cy="170140"/>
              </a:xfrm>
              <a:custGeom>
                <a:avLst/>
                <a:gdLst>
                  <a:gd name="connsiteX0" fmla="*/ 486392 w 590155"/>
                  <a:gd name="connsiteY0" fmla="*/ 226532 h 561941"/>
                  <a:gd name="connsiteX1" fmla="*/ 469945 w 590155"/>
                  <a:gd name="connsiteY1" fmla="*/ 177163 h 561941"/>
                  <a:gd name="connsiteX2" fmla="*/ 498762 w 590155"/>
                  <a:gd name="connsiteY2" fmla="*/ 61949 h 561941"/>
                  <a:gd name="connsiteX3" fmla="*/ 424711 w 590155"/>
                  <a:gd name="connsiteY3" fmla="*/ 8447 h 561941"/>
                  <a:gd name="connsiteX4" fmla="*/ 325948 w 590155"/>
                  <a:gd name="connsiteY4" fmla="*/ 70158 h 561941"/>
                  <a:gd name="connsiteX5" fmla="*/ 272447 w 590155"/>
                  <a:gd name="connsiteY5" fmla="*/ 70158 h 561941"/>
                  <a:gd name="connsiteX6" fmla="*/ 173684 w 590155"/>
                  <a:gd name="connsiteY6" fmla="*/ 8447 h 561941"/>
                  <a:gd name="connsiteX7" fmla="*/ 99633 w 590155"/>
                  <a:gd name="connsiteY7" fmla="*/ 61949 h 561941"/>
                  <a:gd name="connsiteX8" fmla="*/ 128450 w 590155"/>
                  <a:gd name="connsiteY8" fmla="*/ 177163 h 561941"/>
                  <a:gd name="connsiteX9" fmla="*/ 112004 w 590155"/>
                  <a:gd name="connsiteY9" fmla="*/ 226532 h 561941"/>
                  <a:gd name="connsiteX10" fmla="*/ 17312 w 590155"/>
                  <a:gd name="connsiteY10" fmla="*/ 300613 h 561941"/>
                  <a:gd name="connsiteX11" fmla="*/ 46129 w 590155"/>
                  <a:gd name="connsiteY11" fmla="*/ 387039 h 561941"/>
                  <a:gd name="connsiteX12" fmla="*/ 161344 w 590155"/>
                  <a:gd name="connsiteY12" fmla="*/ 395276 h 561941"/>
                  <a:gd name="connsiteX13" fmla="*/ 202503 w 590155"/>
                  <a:gd name="connsiteY13" fmla="*/ 424094 h 561941"/>
                  <a:gd name="connsiteX14" fmla="*/ 247768 w 590155"/>
                  <a:gd name="connsiteY14" fmla="*/ 531071 h 561941"/>
                  <a:gd name="connsiteX15" fmla="*/ 342401 w 590155"/>
                  <a:gd name="connsiteY15" fmla="*/ 531071 h 561941"/>
                  <a:gd name="connsiteX16" fmla="*/ 387665 w 590155"/>
                  <a:gd name="connsiteY16" fmla="*/ 424094 h 561941"/>
                  <a:gd name="connsiteX17" fmla="*/ 428825 w 590155"/>
                  <a:gd name="connsiteY17" fmla="*/ 395276 h 561941"/>
                  <a:gd name="connsiteX18" fmla="*/ 544039 w 590155"/>
                  <a:gd name="connsiteY18" fmla="*/ 387039 h 561941"/>
                  <a:gd name="connsiteX19" fmla="*/ 572857 w 590155"/>
                  <a:gd name="connsiteY19" fmla="*/ 300613 h 561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90155" h="561941">
                    <a:moveTo>
                      <a:pt x="486392" y="226532"/>
                    </a:moveTo>
                    <a:cubicBezTo>
                      <a:pt x="474049" y="214190"/>
                      <a:pt x="465812" y="193610"/>
                      <a:pt x="469945" y="177163"/>
                    </a:cubicBezTo>
                    <a:lnTo>
                      <a:pt x="498762" y="61949"/>
                    </a:lnTo>
                    <a:cubicBezTo>
                      <a:pt x="511105" y="16684"/>
                      <a:pt x="461736" y="-16240"/>
                      <a:pt x="424711" y="8447"/>
                    </a:cubicBezTo>
                    <a:lnTo>
                      <a:pt x="325948" y="70158"/>
                    </a:lnTo>
                    <a:cubicBezTo>
                      <a:pt x="309502" y="78395"/>
                      <a:pt x="288922" y="78395"/>
                      <a:pt x="272447" y="70158"/>
                    </a:cubicBezTo>
                    <a:lnTo>
                      <a:pt x="173684" y="8447"/>
                    </a:lnTo>
                    <a:cubicBezTo>
                      <a:pt x="136658" y="-16237"/>
                      <a:pt x="87259" y="20790"/>
                      <a:pt x="99633" y="61949"/>
                    </a:cubicBezTo>
                    <a:lnTo>
                      <a:pt x="128450" y="177163"/>
                    </a:lnTo>
                    <a:cubicBezTo>
                      <a:pt x="132555" y="193610"/>
                      <a:pt x="128450" y="214190"/>
                      <a:pt x="112004" y="226532"/>
                    </a:cubicBezTo>
                    <a:lnTo>
                      <a:pt x="17312" y="300613"/>
                    </a:lnTo>
                    <a:cubicBezTo>
                      <a:pt x="-15610" y="329431"/>
                      <a:pt x="865" y="387039"/>
                      <a:pt x="46129" y="387039"/>
                    </a:cubicBezTo>
                    <a:lnTo>
                      <a:pt x="161344" y="395276"/>
                    </a:lnTo>
                    <a:cubicBezTo>
                      <a:pt x="181924" y="395276"/>
                      <a:pt x="198370" y="407618"/>
                      <a:pt x="202503" y="424094"/>
                    </a:cubicBezTo>
                    <a:lnTo>
                      <a:pt x="247768" y="531071"/>
                    </a:lnTo>
                    <a:cubicBezTo>
                      <a:pt x="264214" y="572231"/>
                      <a:pt x="321819" y="572231"/>
                      <a:pt x="342401" y="531071"/>
                    </a:cubicBezTo>
                    <a:lnTo>
                      <a:pt x="387665" y="424094"/>
                    </a:lnTo>
                    <a:cubicBezTo>
                      <a:pt x="395903" y="407647"/>
                      <a:pt x="412349" y="395276"/>
                      <a:pt x="428825" y="395276"/>
                    </a:cubicBezTo>
                    <a:lnTo>
                      <a:pt x="544039" y="387039"/>
                    </a:lnTo>
                    <a:cubicBezTo>
                      <a:pt x="589303" y="382934"/>
                      <a:pt x="605749" y="329433"/>
                      <a:pt x="572857" y="300613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9" name="Forma libre 118">
                <a:extLst>
                  <a:ext uri="{FF2B5EF4-FFF2-40B4-BE49-F238E27FC236}">
                    <a16:creationId xmlns:a16="http://schemas.microsoft.com/office/drawing/2014/main" id="{8234F515-84B0-6142-84BC-EF1C68CA794E}"/>
                  </a:ext>
                </a:extLst>
              </p:cNvPr>
              <p:cNvSpPr/>
              <p:nvPr/>
            </p:nvSpPr>
            <p:spPr>
              <a:xfrm>
                <a:off x="3302608" y="1034207"/>
                <a:ext cx="178208" cy="175945"/>
              </a:xfrm>
              <a:custGeom>
                <a:avLst/>
                <a:gdLst>
                  <a:gd name="connsiteX0" fmla="*/ 550055 w 588588"/>
                  <a:gd name="connsiteY0" fmla="*/ 203998 h 581115"/>
                  <a:gd name="connsiteX1" fmla="*/ 434840 w 588588"/>
                  <a:gd name="connsiteY1" fmla="*/ 183418 h 581115"/>
                  <a:gd name="connsiteX2" fmla="*/ 397814 w 588588"/>
                  <a:gd name="connsiteY2" fmla="*/ 146391 h 581115"/>
                  <a:gd name="connsiteX3" fmla="*/ 360759 w 588588"/>
                  <a:gd name="connsiteY3" fmla="*/ 35284 h 581115"/>
                  <a:gd name="connsiteX4" fmla="*/ 270233 w 588588"/>
                  <a:gd name="connsiteY4" fmla="*/ 27046 h 581115"/>
                  <a:gd name="connsiteX5" fmla="*/ 212627 w 588588"/>
                  <a:gd name="connsiteY5" fmla="*/ 129916 h 581115"/>
                  <a:gd name="connsiteX6" fmla="*/ 167363 w 588588"/>
                  <a:gd name="connsiteY6" fmla="*/ 154601 h 581115"/>
                  <a:gd name="connsiteX7" fmla="*/ 52149 w 588588"/>
                  <a:gd name="connsiteY7" fmla="*/ 150496 h 581115"/>
                  <a:gd name="connsiteX8" fmla="*/ 15122 w 588588"/>
                  <a:gd name="connsiteY8" fmla="*/ 236922 h 581115"/>
                  <a:gd name="connsiteX9" fmla="*/ 93310 w 588588"/>
                  <a:gd name="connsiteY9" fmla="*/ 323347 h 581115"/>
                  <a:gd name="connsiteX10" fmla="*/ 105653 w 588588"/>
                  <a:gd name="connsiteY10" fmla="*/ 372716 h 581115"/>
                  <a:gd name="connsiteX11" fmla="*/ 68626 w 588588"/>
                  <a:gd name="connsiteY11" fmla="*/ 483823 h 581115"/>
                  <a:gd name="connsiteX12" fmla="*/ 138574 w 588588"/>
                  <a:gd name="connsiteY12" fmla="*/ 545533 h 581115"/>
                  <a:gd name="connsiteX13" fmla="*/ 245551 w 588588"/>
                  <a:gd name="connsiteY13" fmla="*/ 496165 h 581115"/>
                  <a:gd name="connsiteX14" fmla="*/ 299053 w 588588"/>
                  <a:gd name="connsiteY14" fmla="*/ 500269 h 581115"/>
                  <a:gd name="connsiteX15" fmla="*/ 393686 w 588588"/>
                  <a:gd name="connsiteY15" fmla="*/ 570217 h 581115"/>
                  <a:gd name="connsiteX16" fmla="*/ 475974 w 588588"/>
                  <a:gd name="connsiteY16" fmla="*/ 524953 h 581115"/>
                  <a:gd name="connsiteX17" fmla="*/ 451290 w 588588"/>
                  <a:gd name="connsiteY17" fmla="*/ 409738 h 581115"/>
                  <a:gd name="connsiteX18" fmla="*/ 471870 w 588588"/>
                  <a:gd name="connsiteY18" fmla="*/ 360369 h 581115"/>
                  <a:gd name="connsiteX19" fmla="*/ 566503 w 588588"/>
                  <a:gd name="connsiteY19" fmla="*/ 294526 h 581115"/>
                  <a:gd name="connsiteX20" fmla="*/ 550056 w 588588"/>
                  <a:gd name="connsiteY20" fmla="*/ 204000 h 581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88588" h="581115">
                    <a:moveTo>
                      <a:pt x="550055" y="203998"/>
                    </a:moveTo>
                    <a:lnTo>
                      <a:pt x="434840" y="183418"/>
                    </a:lnTo>
                    <a:cubicBezTo>
                      <a:pt x="418394" y="179313"/>
                      <a:pt x="401918" y="166971"/>
                      <a:pt x="397814" y="146391"/>
                    </a:cubicBezTo>
                    <a:lnTo>
                      <a:pt x="360759" y="35284"/>
                    </a:lnTo>
                    <a:cubicBezTo>
                      <a:pt x="348416" y="-5876"/>
                      <a:pt x="290811" y="-14085"/>
                      <a:pt x="270233" y="27046"/>
                    </a:cubicBezTo>
                    <a:lnTo>
                      <a:pt x="212627" y="129916"/>
                    </a:lnTo>
                    <a:cubicBezTo>
                      <a:pt x="204389" y="146363"/>
                      <a:pt x="187943" y="154601"/>
                      <a:pt x="167363" y="154601"/>
                    </a:cubicBezTo>
                    <a:lnTo>
                      <a:pt x="52149" y="150496"/>
                    </a:lnTo>
                    <a:cubicBezTo>
                      <a:pt x="6884" y="150496"/>
                      <a:pt x="-17799" y="203998"/>
                      <a:pt x="15122" y="236922"/>
                    </a:cubicBezTo>
                    <a:lnTo>
                      <a:pt x="93310" y="323347"/>
                    </a:lnTo>
                    <a:cubicBezTo>
                      <a:pt x="105653" y="335689"/>
                      <a:pt x="109757" y="356269"/>
                      <a:pt x="105653" y="372716"/>
                    </a:cubicBezTo>
                    <a:lnTo>
                      <a:pt x="68626" y="483823"/>
                    </a:lnTo>
                    <a:cubicBezTo>
                      <a:pt x="52179" y="524983"/>
                      <a:pt x="97444" y="566112"/>
                      <a:pt x="138574" y="545533"/>
                    </a:cubicBezTo>
                    <a:lnTo>
                      <a:pt x="245551" y="496165"/>
                    </a:lnTo>
                    <a:cubicBezTo>
                      <a:pt x="261998" y="487927"/>
                      <a:pt x="282578" y="492060"/>
                      <a:pt x="299053" y="500269"/>
                    </a:cubicBezTo>
                    <a:lnTo>
                      <a:pt x="393686" y="570217"/>
                    </a:lnTo>
                    <a:cubicBezTo>
                      <a:pt x="430712" y="599035"/>
                      <a:pt x="480111" y="566113"/>
                      <a:pt x="475974" y="524953"/>
                    </a:cubicBezTo>
                    <a:lnTo>
                      <a:pt x="451290" y="409738"/>
                    </a:lnTo>
                    <a:cubicBezTo>
                      <a:pt x="447186" y="389158"/>
                      <a:pt x="455394" y="372712"/>
                      <a:pt x="471870" y="360369"/>
                    </a:cubicBezTo>
                    <a:lnTo>
                      <a:pt x="566503" y="294526"/>
                    </a:lnTo>
                    <a:cubicBezTo>
                      <a:pt x="603558" y="269813"/>
                      <a:pt x="591216" y="212208"/>
                      <a:pt x="550056" y="204000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0" name="Forma libre 119">
                <a:extLst>
                  <a:ext uri="{FF2B5EF4-FFF2-40B4-BE49-F238E27FC236}">
                    <a16:creationId xmlns:a16="http://schemas.microsoft.com/office/drawing/2014/main" id="{C4D687C6-2B53-224C-8398-EFFAF5F7F994}"/>
                  </a:ext>
                </a:extLst>
              </p:cNvPr>
              <p:cNvSpPr/>
              <p:nvPr/>
            </p:nvSpPr>
            <p:spPr>
              <a:xfrm>
                <a:off x="3478393" y="856477"/>
                <a:ext cx="176143" cy="177566"/>
              </a:xfrm>
              <a:custGeom>
                <a:avLst/>
                <a:gdLst>
                  <a:gd name="connsiteX0" fmla="*/ 500281 w 581768"/>
                  <a:gd name="connsiteY0" fmla="*/ 297232 h 586468"/>
                  <a:gd name="connsiteX1" fmla="*/ 496176 w 581768"/>
                  <a:gd name="connsiteY1" fmla="*/ 243731 h 586468"/>
                  <a:gd name="connsiteX2" fmla="*/ 545545 w 581768"/>
                  <a:gd name="connsiteY2" fmla="*/ 136753 h 586468"/>
                  <a:gd name="connsiteX3" fmla="*/ 483835 w 581768"/>
                  <a:gd name="connsiteY3" fmla="*/ 66805 h 586468"/>
                  <a:gd name="connsiteX4" fmla="*/ 372728 w 581768"/>
                  <a:gd name="connsiteY4" fmla="*/ 103832 h 586468"/>
                  <a:gd name="connsiteX5" fmla="*/ 323359 w 581768"/>
                  <a:gd name="connsiteY5" fmla="*/ 91490 h 586468"/>
                  <a:gd name="connsiteX6" fmla="*/ 236933 w 581768"/>
                  <a:gd name="connsiteY6" fmla="*/ 13301 h 586468"/>
                  <a:gd name="connsiteX7" fmla="*/ 150508 w 581768"/>
                  <a:gd name="connsiteY7" fmla="*/ 50328 h 586468"/>
                  <a:gd name="connsiteX8" fmla="*/ 154613 w 581768"/>
                  <a:gd name="connsiteY8" fmla="*/ 165542 h 586468"/>
                  <a:gd name="connsiteX9" fmla="*/ 129928 w 581768"/>
                  <a:gd name="connsiteY9" fmla="*/ 210806 h 586468"/>
                  <a:gd name="connsiteX10" fmla="*/ 27058 w 581768"/>
                  <a:gd name="connsiteY10" fmla="*/ 268412 h 586468"/>
                  <a:gd name="connsiteX11" fmla="*/ 35296 w 581768"/>
                  <a:gd name="connsiteY11" fmla="*/ 358938 h 586468"/>
                  <a:gd name="connsiteX12" fmla="*/ 146403 w 581768"/>
                  <a:gd name="connsiteY12" fmla="*/ 391860 h 586468"/>
                  <a:gd name="connsiteX13" fmla="*/ 183429 w 581768"/>
                  <a:gd name="connsiteY13" fmla="*/ 428886 h 586468"/>
                  <a:gd name="connsiteX14" fmla="*/ 204009 w 581768"/>
                  <a:gd name="connsiteY14" fmla="*/ 544101 h 586468"/>
                  <a:gd name="connsiteX15" fmla="*/ 294535 w 581768"/>
                  <a:gd name="connsiteY15" fmla="*/ 564681 h 586468"/>
                  <a:gd name="connsiteX16" fmla="*/ 360378 w 581768"/>
                  <a:gd name="connsiteY16" fmla="*/ 470047 h 586468"/>
                  <a:gd name="connsiteX17" fmla="*/ 409747 w 581768"/>
                  <a:gd name="connsiteY17" fmla="*/ 449468 h 586468"/>
                  <a:gd name="connsiteX18" fmla="*/ 524961 w 581768"/>
                  <a:gd name="connsiteY18" fmla="*/ 465914 h 586468"/>
                  <a:gd name="connsiteX19" fmla="*/ 570226 w 581768"/>
                  <a:gd name="connsiteY19" fmla="*/ 383626 h 586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81768" h="586468">
                    <a:moveTo>
                      <a:pt x="500281" y="297232"/>
                    </a:moveTo>
                    <a:cubicBezTo>
                      <a:pt x="487939" y="280785"/>
                      <a:pt x="487939" y="260205"/>
                      <a:pt x="496176" y="243731"/>
                    </a:cubicBezTo>
                    <a:lnTo>
                      <a:pt x="545545" y="136753"/>
                    </a:lnTo>
                    <a:cubicBezTo>
                      <a:pt x="566125" y="95593"/>
                      <a:pt x="524965" y="54465"/>
                      <a:pt x="483835" y="66805"/>
                    </a:cubicBezTo>
                    <a:lnTo>
                      <a:pt x="372728" y="103832"/>
                    </a:lnTo>
                    <a:cubicBezTo>
                      <a:pt x="356281" y="112070"/>
                      <a:pt x="335701" y="103832"/>
                      <a:pt x="323359" y="91490"/>
                    </a:cubicBezTo>
                    <a:lnTo>
                      <a:pt x="236933" y="13301"/>
                    </a:lnTo>
                    <a:cubicBezTo>
                      <a:pt x="204012" y="-15517"/>
                      <a:pt x="150508" y="5063"/>
                      <a:pt x="150508" y="50328"/>
                    </a:cubicBezTo>
                    <a:lnTo>
                      <a:pt x="154613" y="165542"/>
                    </a:lnTo>
                    <a:cubicBezTo>
                      <a:pt x="154613" y="186122"/>
                      <a:pt x="146375" y="202569"/>
                      <a:pt x="129928" y="210806"/>
                    </a:cubicBezTo>
                    <a:lnTo>
                      <a:pt x="27058" y="268412"/>
                    </a:lnTo>
                    <a:cubicBezTo>
                      <a:pt x="-14102" y="288992"/>
                      <a:pt x="-5864" y="346601"/>
                      <a:pt x="35296" y="358938"/>
                    </a:cubicBezTo>
                    <a:lnTo>
                      <a:pt x="146403" y="391860"/>
                    </a:lnTo>
                    <a:cubicBezTo>
                      <a:pt x="162849" y="395964"/>
                      <a:pt x="179325" y="412440"/>
                      <a:pt x="183429" y="428886"/>
                    </a:cubicBezTo>
                    <a:lnTo>
                      <a:pt x="204009" y="544101"/>
                    </a:lnTo>
                    <a:cubicBezTo>
                      <a:pt x="212247" y="589365"/>
                      <a:pt x="269853" y="601706"/>
                      <a:pt x="294535" y="564681"/>
                    </a:cubicBezTo>
                    <a:lnTo>
                      <a:pt x="360378" y="470047"/>
                    </a:lnTo>
                    <a:cubicBezTo>
                      <a:pt x="372720" y="453601"/>
                      <a:pt x="389196" y="445363"/>
                      <a:pt x="409747" y="449468"/>
                    </a:cubicBezTo>
                    <a:lnTo>
                      <a:pt x="524961" y="465914"/>
                    </a:lnTo>
                    <a:cubicBezTo>
                      <a:pt x="570226" y="470019"/>
                      <a:pt x="599013" y="420650"/>
                      <a:pt x="570226" y="383626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1" name="Forma libre 120">
                <a:extLst>
                  <a:ext uri="{FF2B5EF4-FFF2-40B4-BE49-F238E27FC236}">
                    <a16:creationId xmlns:a16="http://schemas.microsoft.com/office/drawing/2014/main" id="{D52D75CC-60C4-5F4A-B8A5-A4E08789F8F1}"/>
                  </a:ext>
                </a:extLst>
              </p:cNvPr>
              <p:cNvSpPr/>
              <p:nvPr/>
            </p:nvSpPr>
            <p:spPr>
              <a:xfrm>
                <a:off x="3561272" y="607337"/>
                <a:ext cx="171063" cy="178650"/>
              </a:xfrm>
              <a:custGeom>
                <a:avLst/>
                <a:gdLst>
                  <a:gd name="connsiteX0" fmla="*/ 531042 w 564989"/>
                  <a:gd name="connsiteY0" fmla="*/ 247755 h 590049"/>
                  <a:gd name="connsiteX1" fmla="*/ 424064 w 564989"/>
                  <a:gd name="connsiteY1" fmla="*/ 202490 h 590049"/>
                  <a:gd name="connsiteX2" fmla="*/ 395247 w 564989"/>
                  <a:gd name="connsiteY2" fmla="*/ 161330 h 590049"/>
                  <a:gd name="connsiteX3" fmla="*/ 387009 w 564989"/>
                  <a:gd name="connsiteY3" fmla="*/ 46116 h 590049"/>
                  <a:gd name="connsiteX4" fmla="*/ 300584 w 564989"/>
                  <a:gd name="connsiteY4" fmla="*/ 17299 h 590049"/>
                  <a:gd name="connsiteX5" fmla="*/ 226532 w 564989"/>
                  <a:gd name="connsiteY5" fmla="*/ 107824 h 590049"/>
                  <a:gd name="connsiteX6" fmla="*/ 177163 w 564989"/>
                  <a:gd name="connsiteY6" fmla="*/ 124271 h 590049"/>
                  <a:gd name="connsiteX7" fmla="*/ 61949 w 564989"/>
                  <a:gd name="connsiteY7" fmla="*/ 95453 h 590049"/>
                  <a:gd name="connsiteX8" fmla="*/ 8448 w 564989"/>
                  <a:gd name="connsiteY8" fmla="*/ 169505 h 590049"/>
                  <a:gd name="connsiteX9" fmla="*/ 70158 w 564989"/>
                  <a:gd name="connsiteY9" fmla="*/ 268268 h 590049"/>
                  <a:gd name="connsiteX10" fmla="*/ 70158 w 564989"/>
                  <a:gd name="connsiteY10" fmla="*/ 321769 h 590049"/>
                  <a:gd name="connsiteX11" fmla="*/ 8448 w 564989"/>
                  <a:gd name="connsiteY11" fmla="*/ 420531 h 590049"/>
                  <a:gd name="connsiteX12" fmla="*/ 61949 w 564989"/>
                  <a:gd name="connsiteY12" fmla="*/ 494583 h 590049"/>
                  <a:gd name="connsiteX13" fmla="*/ 177163 w 564989"/>
                  <a:gd name="connsiteY13" fmla="*/ 465766 h 590049"/>
                  <a:gd name="connsiteX14" fmla="*/ 226532 w 564989"/>
                  <a:gd name="connsiteY14" fmla="*/ 482212 h 590049"/>
                  <a:gd name="connsiteX15" fmla="*/ 300584 w 564989"/>
                  <a:gd name="connsiteY15" fmla="*/ 572738 h 590049"/>
                  <a:gd name="connsiteX16" fmla="*/ 387009 w 564989"/>
                  <a:gd name="connsiteY16" fmla="*/ 543920 h 590049"/>
                  <a:gd name="connsiteX17" fmla="*/ 395247 w 564989"/>
                  <a:gd name="connsiteY17" fmla="*/ 428706 h 590049"/>
                  <a:gd name="connsiteX18" fmla="*/ 424064 w 564989"/>
                  <a:gd name="connsiteY18" fmla="*/ 387546 h 590049"/>
                  <a:gd name="connsiteX19" fmla="*/ 531042 w 564989"/>
                  <a:gd name="connsiteY19" fmla="*/ 342282 h 590049"/>
                  <a:gd name="connsiteX20" fmla="*/ 531042 w 564989"/>
                  <a:gd name="connsiteY20" fmla="*/ 247737 h 590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64989" h="590049">
                    <a:moveTo>
                      <a:pt x="531042" y="247755"/>
                    </a:moveTo>
                    <a:lnTo>
                      <a:pt x="424064" y="202490"/>
                    </a:lnTo>
                    <a:cubicBezTo>
                      <a:pt x="407618" y="194253"/>
                      <a:pt x="395247" y="177806"/>
                      <a:pt x="395247" y="161330"/>
                    </a:cubicBezTo>
                    <a:lnTo>
                      <a:pt x="387009" y="46116"/>
                    </a:lnTo>
                    <a:cubicBezTo>
                      <a:pt x="382905" y="852"/>
                      <a:pt x="329403" y="-15594"/>
                      <a:pt x="300584" y="17299"/>
                    </a:cubicBezTo>
                    <a:lnTo>
                      <a:pt x="226532" y="107824"/>
                    </a:lnTo>
                    <a:cubicBezTo>
                      <a:pt x="214190" y="120167"/>
                      <a:pt x="193610" y="128404"/>
                      <a:pt x="177163" y="124271"/>
                    </a:cubicBezTo>
                    <a:lnTo>
                      <a:pt x="61949" y="95453"/>
                    </a:lnTo>
                    <a:cubicBezTo>
                      <a:pt x="16684" y="83111"/>
                      <a:pt x="-16240" y="132480"/>
                      <a:pt x="8448" y="169505"/>
                    </a:cubicBezTo>
                    <a:lnTo>
                      <a:pt x="70158" y="268268"/>
                    </a:lnTo>
                    <a:cubicBezTo>
                      <a:pt x="78395" y="284714"/>
                      <a:pt x="78395" y="305294"/>
                      <a:pt x="70158" y="321769"/>
                    </a:cubicBezTo>
                    <a:lnTo>
                      <a:pt x="8448" y="420531"/>
                    </a:lnTo>
                    <a:cubicBezTo>
                      <a:pt x="-16237" y="457558"/>
                      <a:pt x="20790" y="506957"/>
                      <a:pt x="61949" y="494583"/>
                    </a:cubicBezTo>
                    <a:lnTo>
                      <a:pt x="177163" y="465766"/>
                    </a:lnTo>
                    <a:cubicBezTo>
                      <a:pt x="193610" y="461661"/>
                      <a:pt x="214190" y="465766"/>
                      <a:pt x="226532" y="482212"/>
                    </a:cubicBezTo>
                    <a:lnTo>
                      <a:pt x="300584" y="572738"/>
                    </a:lnTo>
                    <a:cubicBezTo>
                      <a:pt x="329401" y="605660"/>
                      <a:pt x="387009" y="589185"/>
                      <a:pt x="387009" y="543920"/>
                    </a:cubicBezTo>
                    <a:lnTo>
                      <a:pt x="395247" y="428706"/>
                    </a:lnTo>
                    <a:cubicBezTo>
                      <a:pt x="395247" y="408126"/>
                      <a:pt x="407589" y="391679"/>
                      <a:pt x="424064" y="387546"/>
                    </a:cubicBezTo>
                    <a:lnTo>
                      <a:pt x="531042" y="342282"/>
                    </a:lnTo>
                    <a:cubicBezTo>
                      <a:pt x="576306" y="321817"/>
                      <a:pt x="576306" y="264181"/>
                      <a:pt x="531042" y="247737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2" name="Forma libre 121">
                <a:extLst>
                  <a:ext uri="{FF2B5EF4-FFF2-40B4-BE49-F238E27FC236}">
                    <a16:creationId xmlns:a16="http://schemas.microsoft.com/office/drawing/2014/main" id="{F5F679D7-3B4C-2C4B-88B6-99531C152A98}"/>
                  </a:ext>
                </a:extLst>
              </p:cNvPr>
              <p:cNvSpPr/>
              <p:nvPr/>
            </p:nvSpPr>
            <p:spPr>
              <a:xfrm>
                <a:off x="3478400" y="355578"/>
                <a:ext cx="175948" cy="178109"/>
              </a:xfrm>
              <a:custGeom>
                <a:avLst/>
                <a:gdLst>
                  <a:gd name="connsiteX0" fmla="*/ 27055 w 581124"/>
                  <a:gd name="connsiteY0" fmla="*/ 318029 h 588262"/>
                  <a:gd name="connsiteX1" fmla="*/ 129925 w 581124"/>
                  <a:gd name="connsiteY1" fmla="*/ 375635 h 588262"/>
                  <a:gd name="connsiteX2" fmla="*/ 154610 w 581124"/>
                  <a:gd name="connsiteY2" fmla="*/ 420899 h 588262"/>
                  <a:gd name="connsiteX3" fmla="*/ 150505 w 581124"/>
                  <a:gd name="connsiteY3" fmla="*/ 536114 h 588262"/>
                  <a:gd name="connsiteX4" fmla="*/ 236931 w 581124"/>
                  <a:gd name="connsiteY4" fmla="*/ 573140 h 588262"/>
                  <a:gd name="connsiteX5" fmla="*/ 323356 w 581124"/>
                  <a:gd name="connsiteY5" fmla="*/ 494952 h 588262"/>
                  <a:gd name="connsiteX6" fmla="*/ 372725 w 581124"/>
                  <a:gd name="connsiteY6" fmla="*/ 482610 h 588262"/>
                  <a:gd name="connsiteX7" fmla="*/ 483832 w 581124"/>
                  <a:gd name="connsiteY7" fmla="*/ 519636 h 588262"/>
                  <a:gd name="connsiteX8" fmla="*/ 545542 w 581124"/>
                  <a:gd name="connsiteY8" fmla="*/ 449688 h 588262"/>
                  <a:gd name="connsiteX9" fmla="*/ 496173 w 581124"/>
                  <a:gd name="connsiteY9" fmla="*/ 342711 h 588262"/>
                  <a:gd name="connsiteX10" fmla="*/ 500278 w 581124"/>
                  <a:gd name="connsiteY10" fmla="*/ 289210 h 588262"/>
                  <a:gd name="connsiteX11" fmla="*/ 570226 w 581124"/>
                  <a:gd name="connsiteY11" fmla="*/ 194576 h 588262"/>
                  <a:gd name="connsiteX12" fmla="*/ 524961 w 581124"/>
                  <a:gd name="connsiteY12" fmla="*/ 112288 h 588262"/>
                  <a:gd name="connsiteX13" fmla="*/ 409747 w 581124"/>
                  <a:gd name="connsiteY13" fmla="*/ 137001 h 588262"/>
                  <a:gd name="connsiteX14" fmla="*/ 360378 w 581124"/>
                  <a:gd name="connsiteY14" fmla="*/ 116421 h 588262"/>
                  <a:gd name="connsiteX15" fmla="*/ 294535 w 581124"/>
                  <a:gd name="connsiteY15" fmla="*/ 21788 h 588262"/>
                  <a:gd name="connsiteX16" fmla="*/ 204009 w 581124"/>
                  <a:gd name="connsiteY16" fmla="*/ 42368 h 588262"/>
                  <a:gd name="connsiteX17" fmla="*/ 183429 w 581124"/>
                  <a:gd name="connsiteY17" fmla="*/ 157582 h 588262"/>
                  <a:gd name="connsiteX18" fmla="*/ 146403 w 581124"/>
                  <a:gd name="connsiteY18" fmla="*/ 194609 h 588262"/>
                  <a:gd name="connsiteX19" fmla="*/ 35296 w 581124"/>
                  <a:gd name="connsiteY19" fmla="*/ 227531 h 588262"/>
                  <a:gd name="connsiteX20" fmla="*/ 27058 w 581124"/>
                  <a:gd name="connsiteY20" fmla="*/ 318027 h 588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81124" h="588262">
                    <a:moveTo>
                      <a:pt x="27055" y="318029"/>
                    </a:moveTo>
                    <a:lnTo>
                      <a:pt x="129925" y="375635"/>
                    </a:lnTo>
                    <a:cubicBezTo>
                      <a:pt x="146372" y="383873"/>
                      <a:pt x="154610" y="400319"/>
                      <a:pt x="154610" y="420899"/>
                    </a:cubicBezTo>
                    <a:lnTo>
                      <a:pt x="150505" y="536114"/>
                    </a:lnTo>
                    <a:cubicBezTo>
                      <a:pt x="150505" y="581378"/>
                      <a:pt x="204006" y="606062"/>
                      <a:pt x="236931" y="573140"/>
                    </a:cubicBezTo>
                    <a:lnTo>
                      <a:pt x="323356" y="494952"/>
                    </a:lnTo>
                    <a:cubicBezTo>
                      <a:pt x="335698" y="482610"/>
                      <a:pt x="356278" y="478505"/>
                      <a:pt x="372725" y="482610"/>
                    </a:cubicBezTo>
                    <a:lnTo>
                      <a:pt x="483832" y="519636"/>
                    </a:lnTo>
                    <a:cubicBezTo>
                      <a:pt x="524992" y="536083"/>
                      <a:pt x="566121" y="490819"/>
                      <a:pt x="545542" y="449688"/>
                    </a:cubicBezTo>
                    <a:lnTo>
                      <a:pt x="496173" y="342711"/>
                    </a:lnTo>
                    <a:cubicBezTo>
                      <a:pt x="487936" y="326264"/>
                      <a:pt x="492069" y="305684"/>
                      <a:pt x="500278" y="289210"/>
                    </a:cubicBezTo>
                    <a:lnTo>
                      <a:pt x="570226" y="194576"/>
                    </a:lnTo>
                    <a:cubicBezTo>
                      <a:pt x="599043" y="157550"/>
                      <a:pt x="566121" y="108151"/>
                      <a:pt x="524961" y="112288"/>
                    </a:cubicBezTo>
                    <a:lnTo>
                      <a:pt x="409747" y="137001"/>
                    </a:lnTo>
                    <a:cubicBezTo>
                      <a:pt x="389167" y="141105"/>
                      <a:pt x="372721" y="132896"/>
                      <a:pt x="360378" y="116421"/>
                    </a:cubicBezTo>
                    <a:lnTo>
                      <a:pt x="294535" y="21788"/>
                    </a:lnTo>
                    <a:cubicBezTo>
                      <a:pt x="269851" y="-15239"/>
                      <a:pt x="212246" y="-2896"/>
                      <a:pt x="204009" y="42368"/>
                    </a:cubicBezTo>
                    <a:lnTo>
                      <a:pt x="183429" y="157582"/>
                    </a:lnTo>
                    <a:cubicBezTo>
                      <a:pt x="179325" y="178162"/>
                      <a:pt x="166983" y="190504"/>
                      <a:pt x="146403" y="194609"/>
                    </a:cubicBezTo>
                    <a:lnTo>
                      <a:pt x="35296" y="227531"/>
                    </a:lnTo>
                    <a:cubicBezTo>
                      <a:pt x="-5864" y="239873"/>
                      <a:pt x="-14102" y="297479"/>
                      <a:pt x="27058" y="318027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3" name="Forma libre 122">
                <a:extLst>
                  <a:ext uri="{FF2B5EF4-FFF2-40B4-BE49-F238E27FC236}">
                    <a16:creationId xmlns:a16="http://schemas.microsoft.com/office/drawing/2014/main" id="{414A4D68-A376-2446-B6B3-9D4C88B7BF60}"/>
                  </a:ext>
                </a:extLst>
              </p:cNvPr>
              <p:cNvSpPr/>
              <p:nvPr/>
            </p:nvSpPr>
            <p:spPr>
              <a:xfrm>
                <a:off x="3301742" y="180515"/>
                <a:ext cx="178988" cy="176143"/>
              </a:xfrm>
              <a:custGeom>
                <a:avLst/>
                <a:gdLst>
                  <a:gd name="connsiteX0" fmla="*/ 55025 w 591165"/>
                  <a:gd name="connsiteY0" fmla="*/ 431261 h 581768"/>
                  <a:gd name="connsiteX1" fmla="*/ 170240 w 591165"/>
                  <a:gd name="connsiteY1" fmla="*/ 427156 h 581768"/>
                  <a:gd name="connsiteX2" fmla="*/ 215504 w 591165"/>
                  <a:gd name="connsiteY2" fmla="*/ 451840 h 581768"/>
                  <a:gd name="connsiteX3" fmla="*/ 273110 w 591165"/>
                  <a:gd name="connsiteY3" fmla="*/ 554711 h 581768"/>
                  <a:gd name="connsiteX4" fmla="*/ 363635 w 591165"/>
                  <a:gd name="connsiteY4" fmla="*/ 546473 h 581768"/>
                  <a:gd name="connsiteX5" fmla="*/ 396557 w 591165"/>
                  <a:gd name="connsiteY5" fmla="*/ 435366 h 581768"/>
                  <a:gd name="connsiteX6" fmla="*/ 433584 w 591165"/>
                  <a:gd name="connsiteY6" fmla="*/ 398339 h 581768"/>
                  <a:gd name="connsiteX7" fmla="*/ 548799 w 591165"/>
                  <a:gd name="connsiteY7" fmla="*/ 377759 h 581768"/>
                  <a:gd name="connsiteX8" fmla="*/ 569379 w 591165"/>
                  <a:gd name="connsiteY8" fmla="*/ 287234 h 581768"/>
                  <a:gd name="connsiteX9" fmla="*/ 474745 w 591165"/>
                  <a:gd name="connsiteY9" fmla="*/ 221390 h 581768"/>
                  <a:gd name="connsiteX10" fmla="*/ 454166 w 591165"/>
                  <a:gd name="connsiteY10" fmla="*/ 172022 h 581768"/>
                  <a:gd name="connsiteX11" fmla="*/ 470612 w 591165"/>
                  <a:gd name="connsiteY11" fmla="*/ 56807 h 581768"/>
                  <a:gd name="connsiteX12" fmla="*/ 388324 w 591165"/>
                  <a:gd name="connsiteY12" fmla="*/ 11543 h 581768"/>
                  <a:gd name="connsiteX13" fmla="*/ 293691 w 591165"/>
                  <a:gd name="connsiteY13" fmla="*/ 81491 h 581768"/>
                  <a:gd name="connsiteX14" fmla="*/ 240189 w 591165"/>
                  <a:gd name="connsiteY14" fmla="*/ 85595 h 581768"/>
                  <a:gd name="connsiteX15" fmla="*/ 133212 w 591165"/>
                  <a:gd name="connsiteY15" fmla="*/ 36226 h 581768"/>
                  <a:gd name="connsiteX16" fmla="*/ 63264 w 591165"/>
                  <a:gd name="connsiteY16" fmla="*/ 97937 h 581768"/>
                  <a:gd name="connsiteX17" fmla="*/ 100290 w 591165"/>
                  <a:gd name="connsiteY17" fmla="*/ 209044 h 581768"/>
                  <a:gd name="connsiteX18" fmla="*/ 87948 w 591165"/>
                  <a:gd name="connsiteY18" fmla="*/ 258412 h 581768"/>
                  <a:gd name="connsiteX19" fmla="*/ 9760 w 591165"/>
                  <a:gd name="connsiteY19" fmla="*/ 344838 h 581768"/>
                  <a:gd name="connsiteX20" fmla="*/ 55024 w 591165"/>
                  <a:gd name="connsiteY20" fmla="*/ 431263 h 581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91165" h="581768">
                    <a:moveTo>
                      <a:pt x="55025" y="431261"/>
                    </a:moveTo>
                    <a:lnTo>
                      <a:pt x="170240" y="427156"/>
                    </a:lnTo>
                    <a:cubicBezTo>
                      <a:pt x="190820" y="427156"/>
                      <a:pt x="207266" y="435394"/>
                      <a:pt x="215504" y="451840"/>
                    </a:cubicBezTo>
                    <a:lnTo>
                      <a:pt x="273110" y="554711"/>
                    </a:lnTo>
                    <a:cubicBezTo>
                      <a:pt x="293690" y="595870"/>
                      <a:pt x="351298" y="587633"/>
                      <a:pt x="363635" y="546473"/>
                    </a:cubicBezTo>
                    <a:lnTo>
                      <a:pt x="396557" y="435366"/>
                    </a:lnTo>
                    <a:cubicBezTo>
                      <a:pt x="400662" y="418919"/>
                      <a:pt x="417137" y="402444"/>
                      <a:pt x="433584" y="398339"/>
                    </a:cubicBezTo>
                    <a:lnTo>
                      <a:pt x="548799" y="377759"/>
                    </a:lnTo>
                    <a:cubicBezTo>
                      <a:pt x="594063" y="369522"/>
                      <a:pt x="606404" y="311916"/>
                      <a:pt x="569379" y="287234"/>
                    </a:cubicBezTo>
                    <a:lnTo>
                      <a:pt x="474745" y="221390"/>
                    </a:lnTo>
                    <a:cubicBezTo>
                      <a:pt x="458299" y="209048"/>
                      <a:pt x="450061" y="192573"/>
                      <a:pt x="454166" y="172022"/>
                    </a:cubicBezTo>
                    <a:lnTo>
                      <a:pt x="470612" y="56807"/>
                    </a:lnTo>
                    <a:cubicBezTo>
                      <a:pt x="474717" y="11543"/>
                      <a:pt x="425348" y="-17245"/>
                      <a:pt x="388324" y="11543"/>
                    </a:cubicBezTo>
                    <a:lnTo>
                      <a:pt x="293691" y="81491"/>
                    </a:lnTo>
                    <a:cubicBezTo>
                      <a:pt x="277244" y="93833"/>
                      <a:pt x="256664" y="93833"/>
                      <a:pt x="240189" y="85595"/>
                    </a:cubicBezTo>
                    <a:lnTo>
                      <a:pt x="133212" y="36226"/>
                    </a:lnTo>
                    <a:cubicBezTo>
                      <a:pt x="92052" y="15647"/>
                      <a:pt x="50923" y="56806"/>
                      <a:pt x="63264" y="97937"/>
                    </a:cubicBezTo>
                    <a:lnTo>
                      <a:pt x="100290" y="209044"/>
                    </a:lnTo>
                    <a:cubicBezTo>
                      <a:pt x="108528" y="225490"/>
                      <a:pt x="100290" y="246070"/>
                      <a:pt x="87948" y="258412"/>
                    </a:cubicBezTo>
                    <a:lnTo>
                      <a:pt x="9760" y="344838"/>
                    </a:lnTo>
                    <a:cubicBezTo>
                      <a:pt x="-14925" y="381865"/>
                      <a:pt x="9788" y="435364"/>
                      <a:pt x="55024" y="431263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</p:grpSp>
      </p:grpSp>
      <p:pic>
        <p:nvPicPr>
          <p:cNvPr id="174" name="Imagen 173">
            <a:extLst>
              <a:ext uri="{FF2B5EF4-FFF2-40B4-BE49-F238E27FC236}">
                <a16:creationId xmlns:a16="http://schemas.microsoft.com/office/drawing/2014/main" id="{F8DE000B-72A9-4B6E-A38A-0F8DEED88E2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0CDCB0F8-9C4D-830C-527A-02B13DF2A752}"/>
              </a:ext>
            </a:extLst>
          </p:cNvPr>
          <p:cNvSpPr/>
          <p:nvPr userDrawn="1"/>
        </p:nvSpPr>
        <p:spPr>
          <a:xfrm>
            <a:off x="10875704" y="0"/>
            <a:ext cx="1316296" cy="323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2486151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level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Imagen 77">
            <a:extLst>
              <a:ext uri="{FF2B5EF4-FFF2-40B4-BE49-F238E27FC236}">
                <a16:creationId xmlns:a16="http://schemas.microsoft.com/office/drawing/2014/main" id="{E24F0E66-EB6E-074C-9025-79FAE401DC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69941" y="-32246"/>
            <a:ext cx="12261941" cy="6900908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51C4F862-97AC-474F-9B69-8247F57F01CF}"/>
              </a:ext>
            </a:extLst>
          </p:cNvPr>
          <p:cNvSpPr/>
          <p:nvPr userDrawn="1"/>
        </p:nvSpPr>
        <p:spPr>
          <a:xfrm rot="5400000">
            <a:off x="2628885" y="-2715186"/>
            <a:ext cx="6905756" cy="12261940"/>
          </a:xfrm>
          <a:prstGeom prst="rect">
            <a:avLst/>
          </a:prstGeom>
          <a:gradFill>
            <a:gsLst>
              <a:gs pos="0">
                <a:schemeClr val="accent1">
                  <a:alpha val="0"/>
                  <a:lumMod val="0"/>
                </a:schemeClr>
              </a:gs>
              <a:gs pos="100000">
                <a:schemeClr val="accent1">
                  <a:alpha val="38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2400"/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F735655E-9D8B-3244-B034-7D0116C11B15}"/>
              </a:ext>
            </a:extLst>
          </p:cNvPr>
          <p:cNvGrpSpPr/>
          <p:nvPr userDrawn="1"/>
        </p:nvGrpSpPr>
        <p:grpSpPr>
          <a:xfrm>
            <a:off x="9867193" y="710351"/>
            <a:ext cx="1690555" cy="523717"/>
            <a:chOff x="7785861" y="4639396"/>
            <a:chExt cx="1111660" cy="344382"/>
          </a:xfrm>
        </p:grpSpPr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EB0B0CED-F417-C040-9F16-B2DB69620FD6}"/>
                </a:ext>
              </a:extLst>
            </p:cNvPr>
            <p:cNvSpPr/>
            <p:nvPr userDrawn="1"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51C9919C-10A2-8846-8B17-3E28C9380735}"/>
                </a:ext>
              </a:extLst>
            </p:cNvPr>
            <p:cNvSpPr/>
            <p:nvPr userDrawn="1"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tx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</p:grpSp>
      <p:sp>
        <p:nvSpPr>
          <p:cNvPr id="17" name="Marcador de pie de página 1">
            <a:extLst>
              <a:ext uri="{FF2B5EF4-FFF2-40B4-BE49-F238E27FC236}">
                <a16:creationId xmlns:a16="http://schemas.microsoft.com/office/drawing/2014/main" id="{4EB6EC18-AB07-784B-A9C3-80C7FFAEDF2F}"/>
              </a:ext>
            </a:extLst>
          </p:cNvPr>
          <p:cNvSpPr txBox="1">
            <a:spLocks/>
          </p:cNvSpPr>
          <p:nvPr userDrawn="1"/>
        </p:nvSpPr>
        <p:spPr>
          <a:xfrm>
            <a:off x="3660913" y="6544917"/>
            <a:ext cx="4870177" cy="323744"/>
          </a:xfrm>
          <a:prstGeom prst="rect">
            <a:avLst/>
          </a:prstGeom>
        </p:spPr>
        <p:txBody>
          <a:bodyPr/>
          <a:lstStyle>
            <a:defPPr>
              <a:defRPr lang="es-ES_trad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>
                <a:solidFill>
                  <a:schemeClr val="tx2"/>
                </a:solidFill>
              </a:rPr>
              <a:t>Financial Results &amp; Business Update</a:t>
            </a:r>
          </a:p>
        </p:txBody>
      </p:sp>
      <p:sp>
        <p:nvSpPr>
          <p:cNvPr id="77" name="Título 4">
            <a:extLst>
              <a:ext uri="{FF2B5EF4-FFF2-40B4-BE49-F238E27FC236}">
                <a16:creationId xmlns:a16="http://schemas.microsoft.com/office/drawing/2014/main" id="{956684D4-E538-8946-B6DB-3B60DBD47383}"/>
              </a:ext>
            </a:extLst>
          </p:cNvPr>
          <p:cNvSpPr txBox="1">
            <a:spLocks/>
          </p:cNvSpPr>
          <p:nvPr userDrawn="1"/>
        </p:nvSpPr>
        <p:spPr>
          <a:xfrm>
            <a:off x="532525" y="2937344"/>
            <a:ext cx="11402089" cy="983312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5333" err="1">
                <a:ln>
                  <a:noFill/>
                </a:ln>
                <a:solidFill>
                  <a:schemeClr val="accent2"/>
                </a:solidFill>
              </a:rPr>
              <a:t>Appendices</a:t>
            </a:r>
            <a:endParaRPr lang="es-ES_tradnl" sz="5333">
              <a:ln>
                <a:noFill/>
              </a:ln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11798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Imagen 70">
            <a:extLst>
              <a:ext uri="{FF2B5EF4-FFF2-40B4-BE49-F238E27FC236}">
                <a16:creationId xmlns:a16="http://schemas.microsoft.com/office/drawing/2014/main" id="{0677C223-3B87-4520-867F-E6EDC51239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817037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9A2BE49-8834-EC86-9E4A-E56FAC8A5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22193617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D0F57332-4B2A-60FB-0205-DB0277F200F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8201" y="1662595"/>
            <a:ext cx="5157787" cy="3684588"/>
          </a:xfrm>
        </p:spPr>
        <p:txBody>
          <a:bodyPr/>
          <a:lstStyle>
            <a:lvl1pPr marL="228594" indent="-228594">
              <a:buFontTx/>
              <a:buBlip>
                <a:blip r:embed="rId2"/>
              </a:buBlip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 Haga clic para modificar los estilos de texto del patrón</a:t>
            </a:r>
          </a:p>
          <a:p>
            <a:pPr lvl="0"/>
            <a:endParaRPr lang="es-ES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2970EAE1-83CB-6CB1-F339-28AF3F3AE0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0613" y="1662595"/>
            <a:ext cx="5183188" cy="3684588"/>
          </a:xfrm>
        </p:spPr>
        <p:txBody>
          <a:bodyPr>
            <a:normAutofit/>
          </a:bodyPr>
          <a:lstStyle>
            <a:lvl1pPr marL="228594" indent="-228594">
              <a:buFontTx/>
              <a:buBlip>
                <a:blip r:embed="rId2"/>
              </a:buBlip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79064516-473B-42BB-C075-0B4E11D365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374ED3-72D5-D940-A3FB-06567DD17ED4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75446A45-EB2D-22A2-34CC-9111B20212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062DB350-3238-7A64-964E-8FDB753CA7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BE8FB-D02F-004A-9624-8F4F1B4F352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100366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EEC583E-A95A-B552-89BB-2F9DCC8CED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E91DB149-B962-E110-E0A9-995E2115CC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CA8CB38-C469-C776-0E82-0875784FA3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C3B911-3ACA-4BF2-BB2F-5C3EFA6F661A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0EC5C78-29FE-CCA1-D7DA-9A1CC6135D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F89160-E505-B8F2-BE5A-927FF67DDD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F12EC-4CB1-4568-9A2D-0F2CAC4907EA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100424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BAF89A17-6A6C-D601-1683-CE700354393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546783" y="2197550"/>
            <a:ext cx="4271892" cy="2462903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CD03BA2B-9879-98E2-7F4F-C69FFD7E184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96959" y="1808923"/>
            <a:ext cx="5009320" cy="3811588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0BD1D8F8-6325-93B8-F3B4-47AF36B6E9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03200-546C-A447-9975-15AA23D46A6E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E94FEB6-7E82-6405-B5F7-E31018A505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FCB38CEC-A2B1-8368-8643-5D77A902D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C3E722-8401-EC46-A29D-3DEE9A487B8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176785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571BCC4-4225-0327-8B58-A75CB27E5D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71E55E7D-DF82-A52B-8305-0016384DB2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2FCF464-8837-18A2-4300-7D11A216CC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41FFC0-3E16-445E-A7D1-7A87C3D12D45}" type="datetimeFigureOut">
              <a:rPr lang="es-ES_tradnl" smtClean="0"/>
              <a:t>08/01/2026</a:t>
            </a:fld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85D773B-BD13-B3B1-236D-BF55C5BFE4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AAAB4D-6B39-478C-B2C7-D08067D3EF7C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7" name="Marcador de pie de página 4">
            <a:extLst>
              <a:ext uri="{FF2B5EF4-FFF2-40B4-BE49-F238E27FC236}">
                <a16:creationId xmlns:a16="http://schemas.microsoft.com/office/drawing/2014/main" id="{EE71F459-FB72-F861-BFEB-9AFFFC7B05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91576"/>
            <a:ext cx="4114800" cy="365125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_tradnl" sz="700"/>
              <a:t>Revisión de mercados BU HC Septiembre 2025</a:t>
            </a:r>
          </a:p>
        </p:txBody>
      </p:sp>
    </p:spTree>
    <p:extLst>
      <p:ext uri="{BB962C8B-B14F-4D97-AF65-F5344CB8AC3E}">
        <p14:creationId xmlns:p14="http://schemas.microsoft.com/office/powerpoint/2010/main" val="23828187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93E6B589-424B-C2E2-C74D-5FFAD9C3C7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24400" y="6248980"/>
            <a:ext cx="2743200" cy="365125"/>
          </a:xfrm>
        </p:spPr>
        <p:txBody>
          <a:bodyPr/>
          <a:lstStyle>
            <a:lvl1pPr algn="ctr">
              <a:defRPr sz="10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8D0AF27-2EDE-6846-BB61-B3989FA6B24B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53BA9048-C2ED-9E41-CA3D-72852AFEF5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83726" y="4291644"/>
            <a:ext cx="2530591" cy="119475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Marcador de texto 3">
            <a:extLst>
              <a:ext uri="{FF2B5EF4-FFF2-40B4-BE49-F238E27FC236}">
                <a16:creationId xmlns:a16="http://schemas.microsoft.com/office/drawing/2014/main" id="{6F228CC7-D296-68D0-9A37-517A3BFA47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298137" y="4291644"/>
            <a:ext cx="2530591" cy="119475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Marcador de posición de imagen 4">
            <a:extLst>
              <a:ext uri="{FF2B5EF4-FFF2-40B4-BE49-F238E27FC236}">
                <a16:creationId xmlns:a16="http://schemas.microsoft.com/office/drawing/2014/main" id="{9BD4FA73-7F14-DA95-2C02-DCF694F5394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57519" y="1638541"/>
            <a:ext cx="2542516" cy="233870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ES"/>
          </a:p>
        </p:txBody>
      </p:sp>
      <p:sp>
        <p:nvSpPr>
          <p:cNvPr id="18" name="Marcador de posición de imagen 5">
            <a:extLst>
              <a:ext uri="{FF2B5EF4-FFF2-40B4-BE49-F238E27FC236}">
                <a16:creationId xmlns:a16="http://schemas.microsoft.com/office/drawing/2014/main" id="{B4E5176F-FFAC-770A-DD1F-8E1C564042D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483723" y="1638541"/>
            <a:ext cx="2542516" cy="233870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ES"/>
          </a:p>
        </p:txBody>
      </p:sp>
      <p:sp>
        <p:nvSpPr>
          <p:cNvPr id="19" name="Marcador de posición de imagen 6">
            <a:extLst>
              <a:ext uri="{FF2B5EF4-FFF2-40B4-BE49-F238E27FC236}">
                <a16:creationId xmlns:a16="http://schemas.microsoft.com/office/drawing/2014/main" id="{7F477137-A20D-4CD8-420E-6A1097F7AA2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298135" y="1638541"/>
            <a:ext cx="2542516" cy="233870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ES"/>
          </a:p>
        </p:txBody>
      </p:sp>
      <p:sp>
        <p:nvSpPr>
          <p:cNvPr id="20" name="Marcador de texto 7">
            <a:extLst>
              <a:ext uri="{FF2B5EF4-FFF2-40B4-BE49-F238E27FC236}">
                <a16:creationId xmlns:a16="http://schemas.microsoft.com/office/drawing/2014/main" id="{24651006-06E3-01D0-944E-C3561145C4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351" y="1629113"/>
            <a:ext cx="3034272" cy="38572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Marcador de texto 8">
            <a:extLst>
              <a:ext uri="{FF2B5EF4-FFF2-40B4-BE49-F238E27FC236}">
                <a16:creationId xmlns:a16="http://schemas.microsoft.com/office/drawing/2014/main" id="{B909DB41-F78D-4548-5D3B-2FA0EE56FC2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649025" y="4291644"/>
            <a:ext cx="2530591" cy="119475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C484569-4796-F184-09F3-532FBFE33C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0842" y="490537"/>
            <a:ext cx="8675401" cy="84311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Arial Regular 26pt</a:t>
            </a:r>
          </a:p>
        </p:txBody>
      </p:sp>
    </p:spTree>
    <p:extLst>
      <p:ext uri="{BB962C8B-B14F-4D97-AF65-F5344CB8AC3E}">
        <p14:creationId xmlns:p14="http://schemas.microsoft.com/office/powerpoint/2010/main" val="16272741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tí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057F6F9D-641F-4F3E-B189-6D48E2F78F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B997CCB-0A84-E13E-6080-C00F8964CB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8274" y="6353181"/>
            <a:ext cx="9315449" cy="409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_tradnl"/>
            </a:defPPr>
            <a:lvl1pPr marL="0" algn="ctr" defTabSz="121917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Deck title</a:t>
            </a:r>
            <a:endParaRPr lang="en-US" noProof="0"/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86591B2D-6CCB-0CE1-F55E-37DDD1CDF2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4956" y="176122"/>
            <a:ext cx="11402089" cy="76079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DD92853B-47F0-D2AB-2E43-E936312B5337}"/>
              </a:ext>
            </a:extLst>
          </p:cNvPr>
          <p:cNvCxnSpPr>
            <a:cxnSpLocks/>
          </p:cNvCxnSpPr>
          <p:nvPr userDrawn="1"/>
        </p:nvCxnSpPr>
        <p:spPr>
          <a:xfrm>
            <a:off x="440761" y="1114293"/>
            <a:ext cx="1138939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019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0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>
            <a:extLst>
              <a:ext uri="{FF2B5EF4-FFF2-40B4-BE49-F238E27FC236}">
                <a16:creationId xmlns:a16="http://schemas.microsoft.com/office/drawing/2014/main" id="{E82601B8-9504-B2B5-B3BB-64FC736D07F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8" name="Redondear rectángulo de esquina diagonal 10">
            <a:extLst>
              <a:ext uri="{FF2B5EF4-FFF2-40B4-BE49-F238E27FC236}">
                <a16:creationId xmlns:a16="http://schemas.microsoft.com/office/drawing/2014/main" id="{CF26D786-7D9A-330E-6867-2EB099FE236E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>
          <a:xfrm>
            <a:off x="-20913" y="-8821"/>
            <a:ext cx="12226461" cy="6886772"/>
          </a:xfrm>
          <a:custGeom>
            <a:avLst/>
            <a:gdLst>
              <a:gd name="connsiteX0" fmla="*/ 887959 w 5329238"/>
              <a:gd name="connsiteY0" fmla="*/ 0 h 5327650"/>
              <a:gd name="connsiteX1" fmla="*/ 5329238 w 5329238"/>
              <a:gd name="connsiteY1" fmla="*/ 0 h 5327650"/>
              <a:gd name="connsiteX2" fmla="*/ 5329238 w 5329238"/>
              <a:gd name="connsiteY2" fmla="*/ 0 h 5327650"/>
              <a:gd name="connsiteX3" fmla="*/ 5329238 w 5329238"/>
              <a:gd name="connsiteY3" fmla="*/ 4439691 h 5327650"/>
              <a:gd name="connsiteX4" fmla="*/ 4441279 w 5329238"/>
              <a:gd name="connsiteY4" fmla="*/ 5327650 h 5327650"/>
              <a:gd name="connsiteX5" fmla="*/ 0 w 5329238"/>
              <a:gd name="connsiteY5" fmla="*/ 5327650 h 5327650"/>
              <a:gd name="connsiteX6" fmla="*/ 0 w 5329238"/>
              <a:gd name="connsiteY6" fmla="*/ 5327650 h 5327650"/>
              <a:gd name="connsiteX7" fmla="*/ 0 w 5329238"/>
              <a:gd name="connsiteY7" fmla="*/ 887959 h 5327650"/>
              <a:gd name="connsiteX8" fmla="*/ 887959 w 5329238"/>
              <a:gd name="connsiteY8" fmla="*/ 0 h 5327650"/>
              <a:gd name="connsiteX0" fmla="*/ 218922 w 5544456"/>
              <a:gd name="connsiteY0" fmla="*/ 0 h 5332674"/>
              <a:gd name="connsiteX1" fmla="*/ 5544456 w 5544456"/>
              <a:gd name="connsiteY1" fmla="*/ 5024 h 5332674"/>
              <a:gd name="connsiteX2" fmla="*/ 5544456 w 5544456"/>
              <a:gd name="connsiteY2" fmla="*/ 5024 h 5332674"/>
              <a:gd name="connsiteX3" fmla="*/ 5544456 w 5544456"/>
              <a:gd name="connsiteY3" fmla="*/ 4444715 h 5332674"/>
              <a:gd name="connsiteX4" fmla="*/ 4656497 w 5544456"/>
              <a:gd name="connsiteY4" fmla="*/ 5332674 h 5332674"/>
              <a:gd name="connsiteX5" fmla="*/ 215218 w 5544456"/>
              <a:gd name="connsiteY5" fmla="*/ 5332674 h 5332674"/>
              <a:gd name="connsiteX6" fmla="*/ 215218 w 5544456"/>
              <a:gd name="connsiteY6" fmla="*/ 5332674 h 5332674"/>
              <a:gd name="connsiteX7" fmla="*/ 215218 w 5544456"/>
              <a:gd name="connsiteY7" fmla="*/ 892983 h 5332674"/>
              <a:gd name="connsiteX8" fmla="*/ 218922 w 5544456"/>
              <a:gd name="connsiteY8" fmla="*/ 0 h 5332674"/>
              <a:gd name="connsiteX0" fmla="*/ 3704 w 5329238"/>
              <a:gd name="connsiteY0" fmla="*/ 0 h 5332674"/>
              <a:gd name="connsiteX1" fmla="*/ 5329238 w 5329238"/>
              <a:gd name="connsiteY1" fmla="*/ 5024 h 5332674"/>
              <a:gd name="connsiteX2" fmla="*/ 5329238 w 5329238"/>
              <a:gd name="connsiteY2" fmla="*/ 5024 h 5332674"/>
              <a:gd name="connsiteX3" fmla="*/ 5329238 w 5329238"/>
              <a:gd name="connsiteY3" fmla="*/ 4444715 h 5332674"/>
              <a:gd name="connsiteX4" fmla="*/ 4441279 w 5329238"/>
              <a:gd name="connsiteY4" fmla="*/ 5332674 h 5332674"/>
              <a:gd name="connsiteX5" fmla="*/ 0 w 5329238"/>
              <a:gd name="connsiteY5" fmla="*/ 5332674 h 5332674"/>
              <a:gd name="connsiteX6" fmla="*/ 0 w 5329238"/>
              <a:gd name="connsiteY6" fmla="*/ 5332674 h 5332674"/>
              <a:gd name="connsiteX7" fmla="*/ 0 w 5329238"/>
              <a:gd name="connsiteY7" fmla="*/ 892983 h 5332674"/>
              <a:gd name="connsiteX8" fmla="*/ 3704 w 5329238"/>
              <a:gd name="connsiteY8" fmla="*/ 0 h 5332674"/>
              <a:gd name="connsiteX0" fmla="*/ 3704 w 5329238"/>
              <a:gd name="connsiteY0" fmla="*/ 0 h 5332674"/>
              <a:gd name="connsiteX1" fmla="*/ 5329238 w 5329238"/>
              <a:gd name="connsiteY1" fmla="*/ 5024 h 5332674"/>
              <a:gd name="connsiteX2" fmla="*/ 5329238 w 5329238"/>
              <a:gd name="connsiteY2" fmla="*/ 5024 h 5332674"/>
              <a:gd name="connsiteX3" fmla="*/ 5329238 w 5329238"/>
              <a:gd name="connsiteY3" fmla="*/ 4444715 h 5332674"/>
              <a:gd name="connsiteX4" fmla="*/ 4441279 w 5329238"/>
              <a:gd name="connsiteY4" fmla="*/ 5332674 h 5332674"/>
              <a:gd name="connsiteX5" fmla="*/ 0 w 5329238"/>
              <a:gd name="connsiteY5" fmla="*/ 5332674 h 5332674"/>
              <a:gd name="connsiteX6" fmla="*/ 0 w 5329238"/>
              <a:gd name="connsiteY6" fmla="*/ 5332674 h 5332674"/>
              <a:gd name="connsiteX7" fmla="*/ 3704 w 5329238"/>
              <a:gd name="connsiteY7" fmla="*/ 0 h 5332674"/>
              <a:gd name="connsiteX0" fmla="*/ 125 w 5335184"/>
              <a:gd name="connsiteY0" fmla="*/ 1326 h 5327650"/>
              <a:gd name="connsiteX1" fmla="*/ 5335184 w 5335184"/>
              <a:gd name="connsiteY1" fmla="*/ 0 h 5327650"/>
              <a:gd name="connsiteX2" fmla="*/ 5335184 w 5335184"/>
              <a:gd name="connsiteY2" fmla="*/ 0 h 5327650"/>
              <a:gd name="connsiteX3" fmla="*/ 5335184 w 5335184"/>
              <a:gd name="connsiteY3" fmla="*/ 4439691 h 5327650"/>
              <a:gd name="connsiteX4" fmla="*/ 4447225 w 5335184"/>
              <a:gd name="connsiteY4" fmla="*/ 5327650 h 5327650"/>
              <a:gd name="connsiteX5" fmla="*/ 5946 w 5335184"/>
              <a:gd name="connsiteY5" fmla="*/ 5327650 h 5327650"/>
              <a:gd name="connsiteX6" fmla="*/ 5946 w 5335184"/>
              <a:gd name="connsiteY6" fmla="*/ 5327650 h 5327650"/>
              <a:gd name="connsiteX7" fmla="*/ 125 w 5335184"/>
              <a:gd name="connsiteY7" fmla="*/ 1326 h 5327650"/>
              <a:gd name="connsiteX0" fmla="*/ 125 w 5335184"/>
              <a:gd name="connsiteY0" fmla="*/ 1326 h 5327650"/>
              <a:gd name="connsiteX1" fmla="*/ 5335184 w 5335184"/>
              <a:gd name="connsiteY1" fmla="*/ 0 h 5327650"/>
              <a:gd name="connsiteX2" fmla="*/ 5335184 w 5335184"/>
              <a:gd name="connsiteY2" fmla="*/ 0 h 5327650"/>
              <a:gd name="connsiteX3" fmla="*/ 5335184 w 5335184"/>
              <a:gd name="connsiteY3" fmla="*/ 4439691 h 5327650"/>
              <a:gd name="connsiteX4" fmla="*/ 4447225 w 5335184"/>
              <a:gd name="connsiteY4" fmla="*/ 5327650 h 5327650"/>
              <a:gd name="connsiteX5" fmla="*/ 5946 w 5335184"/>
              <a:gd name="connsiteY5" fmla="*/ 5327650 h 5327650"/>
              <a:gd name="connsiteX6" fmla="*/ 5946 w 5335184"/>
              <a:gd name="connsiteY6" fmla="*/ 5327650 h 5327650"/>
              <a:gd name="connsiteX7" fmla="*/ 125 w 5335184"/>
              <a:gd name="connsiteY7" fmla="*/ 1326 h 5327650"/>
              <a:gd name="connsiteX0" fmla="*/ 125 w 5335184"/>
              <a:gd name="connsiteY0" fmla="*/ 1326 h 5327650"/>
              <a:gd name="connsiteX1" fmla="*/ 5335184 w 5335184"/>
              <a:gd name="connsiteY1" fmla="*/ 0 h 5327650"/>
              <a:gd name="connsiteX2" fmla="*/ 5335184 w 5335184"/>
              <a:gd name="connsiteY2" fmla="*/ 0 h 5327650"/>
              <a:gd name="connsiteX3" fmla="*/ 5335184 w 5335184"/>
              <a:gd name="connsiteY3" fmla="*/ 4439691 h 5327650"/>
              <a:gd name="connsiteX4" fmla="*/ 4447225 w 5335184"/>
              <a:gd name="connsiteY4" fmla="*/ 5327650 h 5327650"/>
              <a:gd name="connsiteX5" fmla="*/ 5946 w 5335184"/>
              <a:gd name="connsiteY5" fmla="*/ 5327650 h 5327650"/>
              <a:gd name="connsiteX6" fmla="*/ 5946 w 5335184"/>
              <a:gd name="connsiteY6" fmla="*/ 5327650 h 5327650"/>
              <a:gd name="connsiteX7" fmla="*/ 125 w 5335184"/>
              <a:gd name="connsiteY7" fmla="*/ 1326 h 5327650"/>
              <a:gd name="connsiteX0" fmla="*/ 125 w 5335184"/>
              <a:gd name="connsiteY0" fmla="*/ 1326 h 5327650"/>
              <a:gd name="connsiteX1" fmla="*/ 5335184 w 5335184"/>
              <a:gd name="connsiteY1" fmla="*/ 0 h 5327650"/>
              <a:gd name="connsiteX2" fmla="*/ 5335184 w 5335184"/>
              <a:gd name="connsiteY2" fmla="*/ 4439691 h 5327650"/>
              <a:gd name="connsiteX3" fmla="*/ 4447225 w 5335184"/>
              <a:gd name="connsiteY3" fmla="*/ 5327650 h 5327650"/>
              <a:gd name="connsiteX4" fmla="*/ 5946 w 5335184"/>
              <a:gd name="connsiteY4" fmla="*/ 5327650 h 5327650"/>
              <a:gd name="connsiteX5" fmla="*/ 5946 w 5335184"/>
              <a:gd name="connsiteY5" fmla="*/ 5327650 h 5327650"/>
              <a:gd name="connsiteX6" fmla="*/ 125 w 5335184"/>
              <a:gd name="connsiteY6" fmla="*/ 1326 h 5327650"/>
              <a:gd name="connsiteX0" fmla="*/ 1811420 w 7146479"/>
              <a:gd name="connsiteY0" fmla="*/ 1326 h 5327650"/>
              <a:gd name="connsiteX1" fmla="*/ 7146479 w 7146479"/>
              <a:gd name="connsiteY1" fmla="*/ 0 h 5327650"/>
              <a:gd name="connsiteX2" fmla="*/ 7146479 w 7146479"/>
              <a:gd name="connsiteY2" fmla="*/ 4439691 h 5327650"/>
              <a:gd name="connsiteX3" fmla="*/ 6258520 w 7146479"/>
              <a:gd name="connsiteY3" fmla="*/ 5327650 h 5327650"/>
              <a:gd name="connsiteX4" fmla="*/ 1817241 w 7146479"/>
              <a:gd name="connsiteY4" fmla="*/ 5327650 h 5327650"/>
              <a:gd name="connsiteX5" fmla="*/ 0 w 7146479"/>
              <a:gd name="connsiteY5" fmla="*/ 4490139 h 5327650"/>
              <a:gd name="connsiteX6" fmla="*/ 1811420 w 7146479"/>
              <a:gd name="connsiteY6" fmla="*/ 1326 h 5327650"/>
              <a:gd name="connsiteX0" fmla="*/ 4160663 w 9495722"/>
              <a:gd name="connsiteY0" fmla="*/ 1326 h 5332917"/>
              <a:gd name="connsiteX1" fmla="*/ 9495722 w 9495722"/>
              <a:gd name="connsiteY1" fmla="*/ 0 h 5332917"/>
              <a:gd name="connsiteX2" fmla="*/ 9495722 w 9495722"/>
              <a:gd name="connsiteY2" fmla="*/ 4439691 h 5332917"/>
              <a:gd name="connsiteX3" fmla="*/ 8607763 w 9495722"/>
              <a:gd name="connsiteY3" fmla="*/ 5327650 h 5332917"/>
              <a:gd name="connsiteX4" fmla="*/ 0 w 9495722"/>
              <a:gd name="connsiteY4" fmla="*/ 5332917 h 5332917"/>
              <a:gd name="connsiteX5" fmla="*/ 2349243 w 9495722"/>
              <a:gd name="connsiteY5" fmla="*/ 4490139 h 5332917"/>
              <a:gd name="connsiteX6" fmla="*/ 4160663 w 9495722"/>
              <a:gd name="connsiteY6" fmla="*/ 1326 h 5332917"/>
              <a:gd name="connsiteX0" fmla="*/ 4160663 w 9495722"/>
              <a:gd name="connsiteY0" fmla="*/ 516895 h 5848486"/>
              <a:gd name="connsiteX1" fmla="*/ 9495722 w 9495722"/>
              <a:gd name="connsiteY1" fmla="*/ 515569 h 5848486"/>
              <a:gd name="connsiteX2" fmla="*/ 9495722 w 9495722"/>
              <a:gd name="connsiteY2" fmla="*/ 4955260 h 5848486"/>
              <a:gd name="connsiteX3" fmla="*/ 8607763 w 9495722"/>
              <a:gd name="connsiteY3" fmla="*/ 5843219 h 5848486"/>
              <a:gd name="connsiteX4" fmla="*/ 0 w 9495722"/>
              <a:gd name="connsiteY4" fmla="*/ 5848486 h 5848486"/>
              <a:gd name="connsiteX5" fmla="*/ 5266 w 9495722"/>
              <a:gd name="connsiteY5" fmla="*/ 512648 h 5848486"/>
              <a:gd name="connsiteX6" fmla="*/ 4160663 w 9495722"/>
              <a:gd name="connsiteY6" fmla="*/ 516895 h 5848486"/>
              <a:gd name="connsiteX0" fmla="*/ 4160663 w 9495722"/>
              <a:gd name="connsiteY0" fmla="*/ 4247 h 5335838"/>
              <a:gd name="connsiteX1" fmla="*/ 9495722 w 9495722"/>
              <a:gd name="connsiteY1" fmla="*/ 2921 h 5335838"/>
              <a:gd name="connsiteX2" fmla="*/ 9495722 w 9495722"/>
              <a:gd name="connsiteY2" fmla="*/ 4442612 h 5335838"/>
              <a:gd name="connsiteX3" fmla="*/ 8607763 w 9495722"/>
              <a:gd name="connsiteY3" fmla="*/ 5330571 h 5335838"/>
              <a:gd name="connsiteX4" fmla="*/ 0 w 9495722"/>
              <a:gd name="connsiteY4" fmla="*/ 5335838 h 5335838"/>
              <a:gd name="connsiteX5" fmla="*/ 5266 w 9495722"/>
              <a:gd name="connsiteY5" fmla="*/ 0 h 5335838"/>
              <a:gd name="connsiteX6" fmla="*/ 4160663 w 9495722"/>
              <a:gd name="connsiteY6" fmla="*/ 4247 h 5335838"/>
              <a:gd name="connsiteX0" fmla="*/ 4160663 w 9495722"/>
              <a:gd name="connsiteY0" fmla="*/ 898033 h 6229624"/>
              <a:gd name="connsiteX1" fmla="*/ 9495722 w 9495722"/>
              <a:gd name="connsiteY1" fmla="*/ 896707 h 6229624"/>
              <a:gd name="connsiteX2" fmla="*/ 9495722 w 9495722"/>
              <a:gd name="connsiteY2" fmla="*/ 5336398 h 6229624"/>
              <a:gd name="connsiteX3" fmla="*/ 8607763 w 9495722"/>
              <a:gd name="connsiteY3" fmla="*/ 6224357 h 6229624"/>
              <a:gd name="connsiteX4" fmla="*/ 0 w 9495722"/>
              <a:gd name="connsiteY4" fmla="*/ 6229624 h 6229624"/>
              <a:gd name="connsiteX5" fmla="*/ 5266 w 9495722"/>
              <a:gd name="connsiteY5" fmla="*/ 893786 h 6229624"/>
              <a:gd name="connsiteX6" fmla="*/ 4160663 w 9495722"/>
              <a:gd name="connsiteY6" fmla="*/ 898033 h 6229624"/>
              <a:gd name="connsiteX0" fmla="*/ 4160663 w 9495722"/>
              <a:gd name="connsiteY0" fmla="*/ 330340 h 5661931"/>
              <a:gd name="connsiteX1" fmla="*/ 9495722 w 9495722"/>
              <a:gd name="connsiteY1" fmla="*/ 329014 h 5661931"/>
              <a:gd name="connsiteX2" fmla="*/ 9495722 w 9495722"/>
              <a:gd name="connsiteY2" fmla="*/ 4768705 h 5661931"/>
              <a:gd name="connsiteX3" fmla="*/ 8607763 w 9495722"/>
              <a:gd name="connsiteY3" fmla="*/ 5656664 h 5661931"/>
              <a:gd name="connsiteX4" fmla="*/ 0 w 9495722"/>
              <a:gd name="connsiteY4" fmla="*/ 5661931 h 5661931"/>
              <a:gd name="connsiteX5" fmla="*/ 5266 w 9495722"/>
              <a:gd name="connsiteY5" fmla="*/ 326093 h 5661931"/>
              <a:gd name="connsiteX6" fmla="*/ 4160663 w 9495722"/>
              <a:gd name="connsiteY6" fmla="*/ 330340 h 5661931"/>
              <a:gd name="connsiteX0" fmla="*/ 5266 w 9495722"/>
              <a:gd name="connsiteY0" fmla="*/ 610872 h 5946710"/>
              <a:gd name="connsiteX1" fmla="*/ 9495722 w 9495722"/>
              <a:gd name="connsiteY1" fmla="*/ 613793 h 5946710"/>
              <a:gd name="connsiteX2" fmla="*/ 9495722 w 9495722"/>
              <a:gd name="connsiteY2" fmla="*/ 5053484 h 5946710"/>
              <a:gd name="connsiteX3" fmla="*/ 8607763 w 9495722"/>
              <a:gd name="connsiteY3" fmla="*/ 5941443 h 5946710"/>
              <a:gd name="connsiteX4" fmla="*/ 0 w 9495722"/>
              <a:gd name="connsiteY4" fmla="*/ 5946710 h 5946710"/>
              <a:gd name="connsiteX5" fmla="*/ 5266 w 9495722"/>
              <a:gd name="connsiteY5" fmla="*/ 610872 h 5946710"/>
              <a:gd name="connsiteX0" fmla="*/ 5266 w 9495722"/>
              <a:gd name="connsiteY0" fmla="*/ 610872 h 5946710"/>
              <a:gd name="connsiteX1" fmla="*/ 9495722 w 9495722"/>
              <a:gd name="connsiteY1" fmla="*/ 613793 h 5946710"/>
              <a:gd name="connsiteX2" fmla="*/ 9495722 w 9495722"/>
              <a:gd name="connsiteY2" fmla="*/ 5053484 h 5946710"/>
              <a:gd name="connsiteX3" fmla="*/ 8607763 w 9495722"/>
              <a:gd name="connsiteY3" fmla="*/ 5941443 h 5946710"/>
              <a:gd name="connsiteX4" fmla="*/ 0 w 9495722"/>
              <a:gd name="connsiteY4" fmla="*/ 5946710 h 5946710"/>
              <a:gd name="connsiteX5" fmla="*/ 5266 w 9495722"/>
              <a:gd name="connsiteY5" fmla="*/ 610872 h 5946710"/>
              <a:gd name="connsiteX0" fmla="*/ 5266 w 9495722"/>
              <a:gd name="connsiteY0" fmla="*/ 610872 h 5946710"/>
              <a:gd name="connsiteX1" fmla="*/ 9495722 w 9495722"/>
              <a:gd name="connsiteY1" fmla="*/ 613793 h 5946710"/>
              <a:gd name="connsiteX2" fmla="*/ 9495722 w 9495722"/>
              <a:gd name="connsiteY2" fmla="*/ 5053484 h 5946710"/>
              <a:gd name="connsiteX3" fmla="*/ 8607763 w 9495722"/>
              <a:gd name="connsiteY3" fmla="*/ 5941443 h 5946710"/>
              <a:gd name="connsiteX4" fmla="*/ 0 w 9495722"/>
              <a:gd name="connsiteY4" fmla="*/ 5946710 h 5946710"/>
              <a:gd name="connsiteX5" fmla="*/ 5266 w 9495722"/>
              <a:gd name="connsiteY5" fmla="*/ 610872 h 5946710"/>
              <a:gd name="connsiteX0" fmla="*/ 5266 w 9495722"/>
              <a:gd name="connsiteY0" fmla="*/ 1011369 h 6347207"/>
              <a:gd name="connsiteX1" fmla="*/ 9495722 w 9495722"/>
              <a:gd name="connsiteY1" fmla="*/ 1014290 h 6347207"/>
              <a:gd name="connsiteX2" fmla="*/ 9495722 w 9495722"/>
              <a:gd name="connsiteY2" fmla="*/ 5453981 h 6347207"/>
              <a:gd name="connsiteX3" fmla="*/ 8607763 w 9495722"/>
              <a:gd name="connsiteY3" fmla="*/ 6341940 h 6347207"/>
              <a:gd name="connsiteX4" fmla="*/ 0 w 9495722"/>
              <a:gd name="connsiteY4" fmla="*/ 6347207 h 6347207"/>
              <a:gd name="connsiteX5" fmla="*/ 5266 w 9495722"/>
              <a:gd name="connsiteY5" fmla="*/ 1011369 h 6347207"/>
              <a:gd name="connsiteX0" fmla="*/ 5266 w 9495722"/>
              <a:gd name="connsiteY0" fmla="*/ 1011369 h 6347207"/>
              <a:gd name="connsiteX1" fmla="*/ 9495722 w 9495722"/>
              <a:gd name="connsiteY1" fmla="*/ 1014290 h 6347207"/>
              <a:gd name="connsiteX2" fmla="*/ 9495722 w 9495722"/>
              <a:gd name="connsiteY2" fmla="*/ 5453981 h 6347207"/>
              <a:gd name="connsiteX3" fmla="*/ 8607763 w 9495722"/>
              <a:gd name="connsiteY3" fmla="*/ 6341940 h 6347207"/>
              <a:gd name="connsiteX4" fmla="*/ 0 w 9495722"/>
              <a:gd name="connsiteY4" fmla="*/ 6347207 h 6347207"/>
              <a:gd name="connsiteX5" fmla="*/ 5266 w 9495722"/>
              <a:gd name="connsiteY5" fmla="*/ 1011369 h 6347207"/>
              <a:gd name="connsiteX0" fmla="*/ 5266 w 9495724"/>
              <a:gd name="connsiteY0" fmla="*/ 394935 h 5730773"/>
              <a:gd name="connsiteX1" fmla="*/ 9495722 w 9495724"/>
              <a:gd name="connsiteY1" fmla="*/ 397856 h 5730773"/>
              <a:gd name="connsiteX2" fmla="*/ 9495722 w 9495724"/>
              <a:gd name="connsiteY2" fmla="*/ 4837547 h 5730773"/>
              <a:gd name="connsiteX3" fmla="*/ 8607763 w 9495724"/>
              <a:gd name="connsiteY3" fmla="*/ 5725506 h 5730773"/>
              <a:gd name="connsiteX4" fmla="*/ 0 w 9495724"/>
              <a:gd name="connsiteY4" fmla="*/ 5730773 h 5730773"/>
              <a:gd name="connsiteX5" fmla="*/ 5266 w 9495724"/>
              <a:gd name="connsiteY5" fmla="*/ 394935 h 5730773"/>
              <a:gd name="connsiteX0" fmla="*/ 5266 w 9495724"/>
              <a:gd name="connsiteY0" fmla="*/ 390882 h 5742522"/>
              <a:gd name="connsiteX1" fmla="*/ 9495722 w 9495724"/>
              <a:gd name="connsiteY1" fmla="*/ 409605 h 5742522"/>
              <a:gd name="connsiteX2" fmla="*/ 9495722 w 9495724"/>
              <a:gd name="connsiteY2" fmla="*/ 4849296 h 5742522"/>
              <a:gd name="connsiteX3" fmla="*/ 8607763 w 9495724"/>
              <a:gd name="connsiteY3" fmla="*/ 5737255 h 5742522"/>
              <a:gd name="connsiteX4" fmla="*/ 0 w 9495724"/>
              <a:gd name="connsiteY4" fmla="*/ 5742522 h 5742522"/>
              <a:gd name="connsiteX5" fmla="*/ 5266 w 9495724"/>
              <a:gd name="connsiteY5" fmla="*/ 390882 h 5742522"/>
              <a:gd name="connsiteX0" fmla="*/ 5266 w 9495724"/>
              <a:gd name="connsiteY0" fmla="*/ 511 h 5352151"/>
              <a:gd name="connsiteX1" fmla="*/ 9495722 w 9495724"/>
              <a:gd name="connsiteY1" fmla="*/ 19234 h 5352151"/>
              <a:gd name="connsiteX2" fmla="*/ 9495722 w 9495724"/>
              <a:gd name="connsiteY2" fmla="*/ 4458925 h 5352151"/>
              <a:gd name="connsiteX3" fmla="*/ 8607763 w 9495724"/>
              <a:gd name="connsiteY3" fmla="*/ 5346884 h 5352151"/>
              <a:gd name="connsiteX4" fmla="*/ 0 w 9495724"/>
              <a:gd name="connsiteY4" fmla="*/ 5352151 h 5352151"/>
              <a:gd name="connsiteX5" fmla="*/ 5266 w 9495724"/>
              <a:gd name="connsiteY5" fmla="*/ 511 h 5352151"/>
              <a:gd name="connsiteX0" fmla="*/ 5266 w 9495724"/>
              <a:gd name="connsiteY0" fmla="*/ 3939 h 5355579"/>
              <a:gd name="connsiteX1" fmla="*/ 9495722 w 9495724"/>
              <a:gd name="connsiteY1" fmla="*/ 1593 h 5355579"/>
              <a:gd name="connsiteX2" fmla="*/ 9495722 w 9495724"/>
              <a:gd name="connsiteY2" fmla="*/ 4462353 h 5355579"/>
              <a:gd name="connsiteX3" fmla="*/ 8607763 w 9495724"/>
              <a:gd name="connsiteY3" fmla="*/ 5350312 h 5355579"/>
              <a:gd name="connsiteX4" fmla="*/ 0 w 9495724"/>
              <a:gd name="connsiteY4" fmla="*/ 5355579 h 5355579"/>
              <a:gd name="connsiteX5" fmla="*/ 5266 w 9495724"/>
              <a:gd name="connsiteY5" fmla="*/ 3939 h 5355579"/>
              <a:gd name="connsiteX0" fmla="*/ 15805 w 9506263"/>
              <a:gd name="connsiteY0" fmla="*/ 3939 h 5355579"/>
              <a:gd name="connsiteX1" fmla="*/ 9506261 w 9506263"/>
              <a:gd name="connsiteY1" fmla="*/ 1593 h 5355579"/>
              <a:gd name="connsiteX2" fmla="*/ 9506261 w 9506263"/>
              <a:gd name="connsiteY2" fmla="*/ 4462353 h 5355579"/>
              <a:gd name="connsiteX3" fmla="*/ 8618302 w 9506263"/>
              <a:gd name="connsiteY3" fmla="*/ 5350312 h 5355579"/>
              <a:gd name="connsiteX4" fmla="*/ 0 w 9506263"/>
              <a:gd name="connsiteY4" fmla="*/ 5355579 h 5355579"/>
              <a:gd name="connsiteX5" fmla="*/ 15805 w 9506263"/>
              <a:gd name="connsiteY5" fmla="*/ 3939 h 5355579"/>
              <a:gd name="connsiteX0" fmla="*/ 457 w 9511994"/>
              <a:gd name="connsiteY0" fmla="*/ 3939 h 5355579"/>
              <a:gd name="connsiteX1" fmla="*/ 9511992 w 9511994"/>
              <a:gd name="connsiteY1" fmla="*/ 1593 h 5355579"/>
              <a:gd name="connsiteX2" fmla="*/ 9511992 w 9511994"/>
              <a:gd name="connsiteY2" fmla="*/ 4462353 h 5355579"/>
              <a:gd name="connsiteX3" fmla="*/ 8624033 w 9511994"/>
              <a:gd name="connsiteY3" fmla="*/ 5350312 h 5355579"/>
              <a:gd name="connsiteX4" fmla="*/ 5731 w 9511994"/>
              <a:gd name="connsiteY4" fmla="*/ 5355579 h 5355579"/>
              <a:gd name="connsiteX5" fmla="*/ 457 w 9511994"/>
              <a:gd name="connsiteY5" fmla="*/ 3939 h 5355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511994" h="5355579">
                <a:moveTo>
                  <a:pt x="457" y="3939"/>
                </a:moveTo>
                <a:cubicBezTo>
                  <a:pt x="-2399" y="36"/>
                  <a:pt x="9517259" y="-1379"/>
                  <a:pt x="9511992" y="1593"/>
                </a:cubicBezTo>
                <a:lnTo>
                  <a:pt x="9511992" y="4462353"/>
                </a:lnTo>
                <a:cubicBezTo>
                  <a:pt x="9511992" y="4952759"/>
                  <a:pt x="9114439" y="5350312"/>
                  <a:pt x="8624033" y="5350312"/>
                </a:cubicBezTo>
                <a:lnTo>
                  <a:pt x="5731" y="5355579"/>
                </a:lnTo>
                <a:cubicBezTo>
                  <a:pt x="7486" y="3576966"/>
                  <a:pt x="-2176" y="2671858"/>
                  <a:pt x="457" y="3939"/>
                </a:cubicBezTo>
                <a:close/>
              </a:path>
            </a:pathLst>
          </a:custGeom>
          <a:solidFill>
            <a:schemeClr val="bg1"/>
          </a:solidFill>
          <a:ln w="50800">
            <a:noFill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351"/>
          </a:p>
        </p:txBody>
      </p:sp>
      <p:sp>
        <p:nvSpPr>
          <p:cNvPr id="11" name="Marcador de texto 2">
            <a:extLst>
              <a:ext uri="{FF2B5EF4-FFF2-40B4-BE49-F238E27FC236}">
                <a16:creationId xmlns:a16="http://schemas.microsoft.com/office/drawing/2014/main" id="{11114E4D-45B7-1986-9515-4EF10C1329C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5403" y="6417751"/>
            <a:ext cx="5341197" cy="19508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spcBef>
                <a:spcPts val="0"/>
              </a:spcBef>
              <a:buNone/>
              <a:defRPr sz="933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2" name="Marcador de texto 6">
            <a:extLst>
              <a:ext uri="{FF2B5EF4-FFF2-40B4-BE49-F238E27FC236}">
                <a16:creationId xmlns:a16="http://schemas.microsoft.com/office/drawing/2014/main" id="{AE3012C9-95D0-6C57-15A6-7BDE7BBCCD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184" y="6341105"/>
            <a:ext cx="960965" cy="310299"/>
          </a:xfrm>
          <a:custGeom>
            <a:avLst/>
            <a:gdLst>
              <a:gd name="connsiteX0" fmla="*/ 0 w 2135188"/>
              <a:gd name="connsiteY0" fmla="*/ 0 h 4159250"/>
              <a:gd name="connsiteX1" fmla="*/ 2135188 w 2135188"/>
              <a:gd name="connsiteY1" fmla="*/ 0 h 4159250"/>
              <a:gd name="connsiteX2" fmla="*/ 2135188 w 2135188"/>
              <a:gd name="connsiteY2" fmla="*/ 4159250 h 4159250"/>
              <a:gd name="connsiteX3" fmla="*/ 0 w 2135188"/>
              <a:gd name="connsiteY3" fmla="*/ 4159250 h 4159250"/>
              <a:gd name="connsiteX4" fmla="*/ 0 w 2135188"/>
              <a:gd name="connsiteY4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0 w 2141605"/>
              <a:gd name="connsiteY3" fmla="*/ 4159250 h 4159250"/>
              <a:gd name="connsiteX4" fmla="*/ 0 w 2141605"/>
              <a:gd name="connsiteY4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777566 w 2141605"/>
              <a:gd name="connsiteY3" fmla="*/ 3935379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7"/>
              <a:gd name="connsiteY0" fmla="*/ 0 h 4159250"/>
              <a:gd name="connsiteX1" fmla="*/ 2135188 w 2141607"/>
              <a:gd name="connsiteY1" fmla="*/ 0 h 4159250"/>
              <a:gd name="connsiteX2" fmla="*/ 2141605 w 2141607"/>
              <a:gd name="connsiteY2" fmla="*/ 3889743 h 4159250"/>
              <a:gd name="connsiteX3" fmla="*/ 1873819 w 2141607"/>
              <a:gd name="connsiteY3" fmla="*/ 4156760 h 4159250"/>
              <a:gd name="connsiteX4" fmla="*/ 0 w 2141607"/>
              <a:gd name="connsiteY4" fmla="*/ 4159250 h 4159250"/>
              <a:gd name="connsiteX5" fmla="*/ 0 w 2141607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218134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2181340 h 4159250"/>
              <a:gd name="connsiteX0" fmla="*/ 0 w 2141605"/>
              <a:gd name="connsiteY0" fmla="*/ 5509 h 1983419"/>
              <a:gd name="connsiteX1" fmla="*/ 2140697 w 2141605"/>
              <a:gd name="connsiteY1" fmla="*/ 0 h 1983419"/>
              <a:gd name="connsiteX2" fmla="*/ 2141605 w 2141605"/>
              <a:gd name="connsiteY2" fmla="*/ 1713912 h 1983419"/>
              <a:gd name="connsiteX3" fmla="*/ 1873819 w 2141605"/>
              <a:gd name="connsiteY3" fmla="*/ 1980929 h 1983419"/>
              <a:gd name="connsiteX4" fmla="*/ 0 w 2141605"/>
              <a:gd name="connsiteY4" fmla="*/ 1983419 h 1983419"/>
              <a:gd name="connsiteX5" fmla="*/ 0 w 2141605"/>
              <a:gd name="connsiteY5" fmla="*/ 5509 h 1983419"/>
              <a:gd name="connsiteX0" fmla="*/ 309752 w 2141605"/>
              <a:gd name="connsiteY0" fmla="*/ 149478 h 1983419"/>
              <a:gd name="connsiteX1" fmla="*/ 2140697 w 2141605"/>
              <a:gd name="connsiteY1" fmla="*/ 0 h 1983419"/>
              <a:gd name="connsiteX2" fmla="*/ 2141605 w 2141605"/>
              <a:gd name="connsiteY2" fmla="*/ 1713912 h 1983419"/>
              <a:gd name="connsiteX3" fmla="*/ 1873819 w 2141605"/>
              <a:gd name="connsiteY3" fmla="*/ 1980929 h 1983419"/>
              <a:gd name="connsiteX4" fmla="*/ 0 w 2141605"/>
              <a:gd name="connsiteY4" fmla="*/ 1983419 h 1983419"/>
              <a:gd name="connsiteX5" fmla="*/ 309752 w 2141605"/>
              <a:gd name="connsiteY5" fmla="*/ 149478 h 1983419"/>
              <a:gd name="connsiteX0" fmla="*/ 309752 w 2145076"/>
              <a:gd name="connsiteY0" fmla="*/ 1146 h 1835087"/>
              <a:gd name="connsiteX1" fmla="*/ 2145060 w 2145076"/>
              <a:gd name="connsiteY1" fmla="*/ 0 h 1835087"/>
              <a:gd name="connsiteX2" fmla="*/ 2141605 w 2145076"/>
              <a:gd name="connsiteY2" fmla="*/ 1565580 h 1835087"/>
              <a:gd name="connsiteX3" fmla="*/ 1873819 w 2145076"/>
              <a:gd name="connsiteY3" fmla="*/ 1832597 h 1835087"/>
              <a:gd name="connsiteX4" fmla="*/ 0 w 2145076"/>
              <a:gd name="connsiteY4" fmla="*/ 1835087 h 1835087"/>
              <a:gd name="connsiteX5" fmla="*/ 309752 w 2145076"/>
              <a:gd name="connsiteY5" fmla="*/ 1146 h 1835087"/>
              <a:gd name="connsiteX0" fmla="*/ 0 w 1835324"/>
              <a:gd name="connsiteY0" fmla="*/ 1146 h 1832905"/>
              <a:gd name="connsiteX1" fmla="*/ 1835308 w 1835324"/>
              <a:gd name="connsiteY1" fmla="*/ 0 h 1832905"/>
              <a:gd name="connsiteX2" fmla="*/ 1831853 w 1835324"/>
              <a:gd name="connsiteY2" fmla="*/ 1565580 h 1832905"/>
              <a:gd name="connsiteX3" fmla="*/ 1564067 w 1835324"/>
              <a:gd name="connsiteY3" fmla="*/ 1832597 h 1832905"/>
              <a:gd name="connsiteX4" fmla="*/ 4363 w 1835324"/>
              <a:gd name="connsiteY4" fmla="*/ 1832905 h 1832905"/>
              <a:gd name="connsiteX5" fmla="*/ 0 w 1835324"/>
              <a:gd name="connsiteY5" fmla="*/ 1146 h 1832905"/>
              <a:gd name="connsiteX0" fmla="*/ 0 w 1835324"/>
              <a:gd name="connsiteY0" fmla="*/ 1146 h 1833598"/>
              <a:gd name="connsiteX1" fmla="*/ 1835308 w 1835324"/>
              <a:gd name="connsiteY1" fmla="*/ 0 h 1833598"/>
              <a:gd name="connsiteX2" fmla="*/ 1831853 w 1835324"/>
              <a:gd name="connsiteY2" fmla="*/ 1565580 h 1833598"/>
              <a:gd name="connsiteX3" fmla="*/ 1564067 w 1835324"/>
              <a:gd name="connsiteY3" fmla="*/ 1832597 h 1833598"/>
              <a:gd name="connsiteX4" fmla="*/ 4363 w 1835324"/>
              <a:gd name="connsiteY4" fmla="*/ 1832905 h 1833598"/>
              <a:gd name="connsiteX5" fmla="*/ 0 w 1835324"/>
              <a:gd name="connsiteY5" fmla="*/ 1146 h 1833598"/>
              <a:gd name="connsiteX0" fmla="*/ 0 w 1835324"/>
              <a:gd name="connsiteY0" fmla="*/ 1146 h 1835238"/>
              <a:gd name="connsiteX1" fmla="*/ 1835308 w 1835324"/>
              <a:gd name="connsiteY1" fmla="*/ 0 h 1835238"/>
              <a:gd name="connsiteX2" fmla="*/ 1831853 w 1835324"/>
              <a:gd name="connsiteY2" fmla="*/ 1565580 h 1835238"/>
              <a:gd name="connsiteX3" fmla="*/ 1541918 w 1835324"/>
              <a:gd name="connsiteY3" fmla="*/ 1834611 h 1835238"/>
              <a:gd name="connsiteX4" fmla="*/ 4363 w 1835324"/>
              <a:gd name="connsiteY4" fmla="*/ 1832905 h 1835238"/>
              <a:gd name="connsiteX5" fmla="*/ 0 w 1835324"/>
              <a:gd name="connsiteY5" fmla="*/ 1146 h 1835238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35338"/>
              <a:gd name="connsiteY0" fmla="*/ 1146 h 1837318"/>
              <a:gd name="connsiteX1" fmla="*/ 1835308 w 1835338"/>
              <a:gd name="connsiteY1" fmla="*/ 0 h 1837318"/>
              <a:gd name="connsiteX2" fmla="*/ 1831853 w 1835338"/>
              <a:gd name="connsiteY2" fmla="*/ 1565580 h 1837318"/>
              <a:gd name="connsiteX3" fmla="*/ 1828336 w 1835338"/>
              <a:gd name="connsiteY3" fmla="*/ 1837313 h 1837318"/>
              <a:gd name="connsiteX4" fmla="*/ 4363 w 1835338"/>
              <a:gd name="connsiteY4" fmla="*/ 1832905 h 1837318"/>
              <a:gd name="connsiteX5" fmla="*/ 0 w 1835338"/>
              <a:gd name="connsiteY5" fmla="*/ 1146 h 1837318"/>
              <a:gd name="connsiteX0" fmla="*/ 0 w 1835338"/>
              <a:gd name="connsiteY0" fmla="*/ 1146 h 1837479"/>
              <a:gd name="connsiteX1" fmla="*/ 1835308 w 1835338"/>
              <a:gd name="connsiteY1" fmla="*/ 0 h 1837479"/>
              <a:gd name="connsiteX2" fmla="*/ 1831853 w 1835338"/>
              <a:gd name="connsiteY2" fmla="*/ 1565580 h 1837479"/>
              <a:gd name="connsiteX3" fmla="*/ 1828336 w 1835338"/>
              <a:gd name="connsiteY3" fmla="*/ 1837313 h 1837479"/>
              <a:gd name="connsiteX4" fmla="*/ 4363 w 1835338"/>
              <a:gd name="connsiteY4" fmla="*/ 1832905 h 1837479"/>
              <a:gd name="connsiteX5" fmla="*/ 0 w 1835338"/>
              <a:gd name="connsiteY5" fmla="*/ 1146 h 1837479"/>
              <a:gd name="connsiteX0" fmla="*/ 0 w 1835338"/>
              <a:gd name="connsiteY0" fmla="*/ 1146 h 1837479"/>
              <a:gd name="connsiteX1" fmla="*/ 1835308 w 1835338"/>
              <a:gd name="connsiteY1" fmla="*/ 0 h 1837479"/>
              <a:gd name="connsiteX2" fmla="*/ 1831853 w 1835338"/>
              <a:gd name="connsiteY2" fmla="*/ 1565580 h 1837479"/>
              <a:gd name="connsiteX3" fmla="*/ 1828336 w 1835338"/>
              <a:gd name="connsiteY3" fmla="*/ 1837313 h 1837479"/>
              <a:gd name="connsiteX4" fmla="*/ 4363 w 1835338"/>
              <a:gd name="connsiteY4" fmla="*/ 1832905 h 1837479"/>
              <a:gd name="connsiteX5" fmla="*/ 0 w 1835338"/>
              <a:gd name="connsiteY5" fmla="*/ 1146 h 1837479"/>
              <a:gd name="connsiteX0" fmla="*/ 0 w 1835338"/>
              <a:gd name="connsiteY0" fmla="*/ 1146 h 1837479"/>
              <a:gd name="connsiteX1" fmla="*/ 1835308 w 1835338"/>
              <a:gd name="connsiteY1" fmla="*/ 0 h 1837479"/>
              <a:gd name="connsiteX2" fmla="*/ 1831853 w 1835338"/>
              <a:gd name="connsiteY2" fmla="*/ 1565580 h 1837479"/>
              <a:gd name="connsiteX3" fmla="*/ 1828336 w 1835338"/>
              <a:gd name="connsiteY3" fmla="*/ 1837313 h 1837479"/>
              <a:gd name="connsiteX4" fmla="*/ 4363 w 1835338"/>
              <a:gd name="connsiteY4" fmla="*/ 1832905 h 1837479"/>
              <a:gd name="connsiteX5" fmla="*/ 0 w 1835338"/>
              <a:gd name="connsiteY5" fmla="*/ 1146 h 1837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35338" h="1837479">
                <a:moveTo>
                  <a:pt x="0" y="1146"/>
                </a:moveTo>
                <a:lnTo>
                  <a:pt x="1835308" y="0"/>
                </a:lnTo>
                <a:cubicBezTo>
                  <a:pt x="1835611" y="571304"/>
                  <a:pt x="1833580" y="782790"/>
                  <a:pt x="1831853" y="1565580"/>
                </a:cubicBezTo>
                <a:cubicBezTo>
                  <a:pt x="1826010" y="1792548"/>
                  <a:pt x="1827613" y="1840742"/>
                  <a:pt x="1828336" y="1837313"/>
                </a:cubicBezTo>
                <a:cubicBezTo>
                  <a:pt x="1829264" y="1832909"/>
                  <a:pt x="524264" y="1832802"/>
                  <a:pt x="4363" y="1832905"/>
                </a:cubicBezTo>
                <a:cubicBezTo>
                  <a:pt x="2909" y="1222319"/>
                  <a:pt x="1454" y="611732"/>
                  <a:pt x="0" y="1146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50800">
            <a:noFill/>
          </a:ln>
        </p:spPr>
        <p:txBody>
          <a:bodyPr lIns="324000" tIns="324000" rIns="324000" bIns="324000"/>
          <a:lstStyle>
            <a:lvl1pPr marL="0" indent="0">
              <a:lnSpc>
                <a:spcPts val="5333"/>
              </a:lnSpc>
              <a:spcBef>
                <a:spcPts val="0"/>
              </a:spcBef>
              <a:buNone/>
              <a:defRPr sz="5067" baseline="0">
                <a:solidFill>
                  <a:schemeClr val="accent1"/>
                </a:solidFill>
              </a:defRPr>
            </a:lvl1pPr>
            <a:lvl2pPr marL="457178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2pPr>
            <a:lvl3pPr marL="914354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3pPr>
            <a:lvl4pPr marL="1371532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4pPr>
            <a:lvl5pPr marL="1828709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5pPr>
            <a:lvl6pPr marL="2285886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6pPr>
            <a:lvl7pPr marL="2743062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7pPr>
            <a:lvl8pPr marL="320024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8pPr>
            <a:lvl9pPr marL="3657418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" name="Título 1">
            <a:extLst>
              <a:ext uri="{FF2B5EF4-FFF2-40B4-BE49-F238E27FC236}">
                <a16:creationId xmlns:a16="http://schemas.microsoft.com/office/drawing/2014/main" id="{30130373-B9C0-CA19-6B60-74E6D6DAE4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351" y="745945"/>
            <a:ext cx="10655300" cy="192156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aseline="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Headline is Arial Reg.36pt.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13" name="Marcador de texto 5">
            <a:extLst>
              <a:ext uri="{FF2B5EF4-FFF2-40B4-BE49-F238E27FC236}">
                <a16:creationId xmlns:a16="http://schemas.microsoft.com/office/drawing/2014/main" id="{2F4AD0A5-BD96-45EC-A0A3-1756351F95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8351" y="2906859"/>
            <a:ext cx="10655300" cy="3416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733" baseline="0">
                <a:solidFill>
                  <a:schemeClr val="accent1"/>
                </a:solidFill>
              </a:defRPr>
            </a:lvl1pPr>
            <a:lvl2pPr marL="457178" indent="0">
              <a:buNone/>
              <a:defRPr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noProof="0"/>
              <a:t>Subhead is Arial Regular 13/Simple pt.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14" name="Marcador de texto 5">
            <a:extLst>
              <a:ext uri="{FF2B5EF4-FFF2-40B4-BE49-F238E27FC236}">
                <a16:creationId xmlns:a16="http://schemas.microsoft.com/office/drawing/2014/main" id="{37DC32EF-6A0B-16D2-8C51-DD034D523B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8351" y="3428999"/>
            <a:ext cx="10655300" cy="26394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1pPr>
            <a:lvl2pPr marL="457178" indent="0">
              <a:buNone/>
              <a:defRPr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lvl="0"/>
            <a:endParaRPr lang="en-US" noProof="0"/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noProof="0"/>
          </a:p>
          <a:p>
            <a:pPr lvl="0"/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lvl="0"/>
            <a:endParaRPr lang="en-US" noProof="0"/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noProof="0"/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noProof="0"/>
          </a:p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04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50">
          <p15:clr>
            <a:srgbClr val="FBAE40"/>
          </p15:clr>
        </p15:guide>
        <p15:guide id="2" pos="2160">
          <p15:clr>
            <a:srgbClr val="FBAE40"/>
          </p15:clr>
        </p15:guide>
        <p15:guide id="3" orient="horz" pos="263">
          <p15:clr>
            <a:srgbClr val="FBAE40"/>
          </p15:clr>
        </p15:guide>
        <p15:guide id="4" orient="horz" pos="56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70886" y="6392072"/>
            <a:ext cx="2610852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Deck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28308" y="6392072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n-US" noProof="0" smtClean="0"/>
              <a:pPr/>
              <a:t>‹Nº›</a:t>
            </a:fld>
            <a:endParaRPr lang="en-US" noProof="0"/>
          </a:p>
        </p:txBody>
      </p:sp>
      <p:cxnSp>
        <p:nvCxnSpPr>
          <p:cNvPr id="19" name="Conector recto 18"/>
          <p:cNvCxnSpPr/>
          <p:nvPr userDrawn="1"/>
        </p:nvCxnSpPr>
        <p:spPr>
          <a:xfrm>
            <a:off x="419105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Imagen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50"/>
            <a:ext cx="1129264" cy="494711"/>
          </a:xfrm>
          <a:prstGeom prst="rect">
            <a:avLst/>
          </a:prstGeom>
        </p:spPr>
      </p:pic>
      <p:sp>
        <p:nvSpPr>
          <p:cNvPr id="9" name="Título 1"/>
          <p:cNvSpPr>
            <a:spLocks noGrp="1"/>
          </p:cNvSpPr>
          <p:nvPr>
            <p:ph type="title" hasCustomPrompt="1"/>
          </p:nvPr>
        </p:nvSpPr>
        <p:spPr>
          <a:xfrm>
            <a:off x="411030" y="347572"/>
            <a:ext cx="11402089" cy="98331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1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933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411649" y="1693333"/>
            <a:ext cx="11372849" cy="43010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1pPr>
            <a:lvl2pPr marL="457157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2pPr>
            <a:lvl3pPr marL="914312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3pPr>
            <a:lvl4pPr marL="1371468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4pPr>
            <a:lvl5pPr marL="1828624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5pPr>
            <a:lvl6pPr marL="228578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6pPr>
            <a:lvl7pPr marL="2742935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7pPr>
            <a:lvl8pPr marL="3200092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8pPr>
            <a:lvl9pPr marL="3657247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Body copy is Arial Regular 14/Simple pt.</a:t>
            </a:r>
          </a:p>
        </p:txBody>
      </p:sp>
    </p:spTree>
    <p:extLst>
      <p:ext uri="{BB962C8B-B14F-4D97-AF65-F5344CB8AC3E}">
        <p14:creationId xmlns:p14="http://schemas.microsoft.com/office/powerpoint/2010/main" val="3911933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:a16="http://schemas.microsoft.com/office/drawing/2014/main" id="{6A89A73E-2C31-7D42-AF20-9EEB1A54201F}"/>
              </a:ext>
            </a:extLst>
          </p:cNvPr>
          <p:cNvGrpSpPr/>
          <p:nvPr/>
        </p:nvGrpSpPr>
        <p:grpSpPr>
          <a:xfrm>
            <a:off x="10869235" y="6305566"/>
            <a:ext cx="1001260" cy="310180"/>
            <a:chOff x="7785861" y="4639396"/>
            <a:chExt cx="1111660" cy="344382"/>
          </a:xfrm>
        </p:grpSpPr>
        <p:sp>
          <p:nvSpPr>
            <p:cNvPr id="6" name="Forma libre 5">
              <a:extLst>
                <a:ext uri="{FF2B5EF4-FFF2-40B4-BE49-F238E27FC236}">
                  <a16:creationId xmlns:a16="http://schemas.microsoft.com/office/drawing/2014/main" id="{34B27C1E-A557-6A44-8926-1FD5540CD3BF}"/>
                </a:ext>
              </a:extLst>
            </p:cNvPr>
            <p:cNvSpPr/>
            <p:nvPr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FC6D32C-2C73-9C45-B902-B36FDDC72516}"/>
                </a:ext>
              </a:extLst>
            </p:cNvPr>
            <p:cNvSpPr/>
            <p:nvPr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accent1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>
                <a:solidFill>
                  <a:schemeClr val="accent1"/>
                </a:solidFill>
              </a:endParaRPr>
            </a:p>
          </p:txBody>
        </p:sp>
      </p:grpSp>
      <p:pic>
        <p:nvPicPr>
          <p:cNvPr id="43" name="Imagen 42">
            <a:extLst>
              <a:ext uri="{FF2B5EF4-FFF2-40B4-BE49-F238E27FC236}">
                <a16:creationId xmlns:a16="http://schemas.microsoft.com/office/drawing/2014/main" id="{B5477B23-F4C0-4652-BFC8-E64DF78C09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598629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46784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2-LINE HEADLIN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0418" y="515273"/>
            <a:ext cx="10346231" cy="8807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40418" y="1628274"/>
            <a:ext cx="10346231" cy="47684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31005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1">
            <a:extLst>
              <a:ext uri="{FF2B5EF4-FFF2-40B4-BE49-F238E27FC236}">
                <a16:creationId xmlns:a16="http://schemas.microsoft.com/office/drawing/2014/main" id="{064ECE5C-F180-9075-788D-279D1026D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425" y="365126"/>
            <a:ext cx="9505951" cy="1307810"/>
          </a:xfrm>
        </p:spPr>
        <p:txBody>
          <a:bodyPr anchor="t" anchorCtr="0">
            <a:normAutofit/>
          </a:bodyPr>
          <a:lstStyle>
            <a:lvl1pPr>
              <a:defRPr sz="3600" b="1" cap="none" baseline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1F969E75-B7CE-12A2-BED5-D7099AC3D8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425" y="1799072"/>
            <a:ext cx="9505951" cy="4288907"/>
          </a:xfrm>
        </p:spPr>
        <p:txBody>
          <a:bodyPr/>
          <a:lstStyle>
            <a:lvl1pPr>
              <a:buClr>
                <a:srgbClr val="FFD161"/>
              </a:buClr>
              <a:defRPr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FFD161"/>
              </a:buClr>
              <a:defRPr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FFD161"/>
              </a:buClr>
              <a:defRPr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FFD161"/>
              </a:buClr>
              <a:defRPr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FFD161"/>
              </a:buClr>
              <a:defRPr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3C8F6232-EEA3-60E9-788B-6DB05EDDA6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17" y="0"/>
            <a:ext cx="1219343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9205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06B9B1E2-DDBB-62BA-0FFA-312204B70A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771C4B-7D82-4C92-A4F7-A1D9B2AD2B51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8AE13B54-2477-43EF-C5F7-106DD2EF3E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7FFF20BD-27BA-92C8-AA4B-8750A4249E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69762E-2663-42D1-B2D5-DEA0B6A01655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047254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:a16="http://schemas.microsoft.com/office/drawing/2014/main" id="{6A89A73E-2C31-7D42-AF20-9EEB1A54201F}"/>
              </a:ext>
            </a:extLst>
          </p:cNvPr>
          <p:cNvGrpSpPr/>
          <p:nvPr userDrawn="1"/>
        </p:nvGrpSpPr>
        <p:grpSpPr>
          <a:xfrm>
            <a:off x="10869235" y="6305566"/>
            <a:ext cx="1001260" cy="310180"/>
            <a:chOff x="7785861" y="4639396"/>
            <a:chExt cx="1111660" cy="344382"/>
          </a:xfrm>
        </p:grpSpPr>
        <p:sp>
          <p:nvSpPr>
            <p:cNvPr id="6" name="Forma libre 5">
              <a:extLst>
                <a:ext uri="{FF2B5EF4-FFF2-40B4-BE49-F238E27FC236}">
                  <a16:creationId xmlns:a16="http://schemas.microsoft.com/office/drawing/2014/main" id="{34B27C1E-A557-6A44-8926-1FD5540CD3BF}"/>
                </a:ext>
              </a:extLst>
            </p:cNvPr>
            <p:cNvSpPr/>
            <p:nvPr userDrawn="1"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FC6D32C-2C73-9C45-B902-B36FDDC72516}"/>
                </a:ext>
              </a:extLst>
            </p:cNvPr>
            <p:cNvSpPr/>
            <p:nvPr userDrawn="1"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accent1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>
                <a:solidFill>
                  <a:schemeClr val="accent1"/>
                </a:solidFill>
              </a:endParaRPr>
            </a:p>
          </p:txBody>
        </p:sp>
      </p:grpSp>
      <p:pic>
        <p:nvPicPr>
          <p:cNvPr id="43" name="Imagen 42">
            <a:extLst>
              <a:ext uri="{FF2B5EF4-FFF2-40B4-BE49-F238E27FC236}">
                <a16:creationId xmlns:a16="http://schemas.microsoft.com/office/drawing/2014/main" id="{B5477B23-F4C0-4652-BFC8-E64DF78C09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174889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EST F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057F6F9D-641F-4F3E-B189-6D48E2F78F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6929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EST F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Imagen 39">
            <a:extLst>
              <a:ext uri="{FF2B5EF4-FFF2-40B4-BE49-F238E27FC236}">
                <a16:creationId xmlns:a16="http://schemas.microsoft.com/office/drawing/2014/main" id="{4EA52F12-EA22-4822-A163-614255B62DD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3BF3B21F-543C-C88A-C5AC-E14834E16415}"/>
              </a:ext>
            </a:extLst>
          </p:cNvPr>
          <p:cNvSpPr/>
          <p:nvPr userDrawn="1"/>
        </p:nvSpPr>
        <p:spPr>
          <a:xfrm>
            <a:off x="10875704" y="0"/>
            <a:ext cx="1316296" cy="323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28306917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8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16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59" imgH="355" progId="TCLayout.ActiveDocument.1">
                  <p:embed/>
                </p:oleObj>
              </mc:Choice>
              <mc:Fallback>
                <p:oleObj name="think-cell Slide" r:id="rId9" imgW="359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o 6">
            <a:extLst>
              <a:ext uri="{FF2B5EF4-FFF2-40B4-BE49-F238E27FC236}">
                <a16:creationId xmlns:a16="http://schemas.microsoft.com/office/drawing/2014/main" id="{F246AD8A-13A8-AD45-A853-196B64D14D86}"/>
              </a:ext>
            </a:extLst>
          </p:cNvPr>
          <p:cNvGrpSpPr/>
          <p:nvPr/>
        </p:nvGrpSpPr>
        <p:grpSpPr>
          <a:xfrm>
            <a:off x="10869235" y="6305566"/>
            <a:ext cx="1001260" cy="310180"/>
            <a:chOff x="7785861" y="4639396"/>
            <a:chExt cx="1111660" cy="344382"/>
          </a:xfrm>
        </p:grpSpPr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3CDBEAD3-8A02-4543-B455-7EACBA27B583}"/>
                </a:ext>
              </a:extLst>
            </p:cNvPr>
            <p:cNvSpPr/>
            <p:nvPr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A29E6964-5BF6-6C4A-AF1F-349FC1884D2A}"/>
                </a:ext>
              </a:extLst>
            </p:cNvPr>
            <p:cNvSpPr/>
            <p:nvPr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accent1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>
                <a:solidFill>
                  <a:schemeClr val="accent1"/>
                </a:solidFill>
              </a:endParaRPr>
            </a:p>
          </p:txBody>
        </p:sp>
      </p:grpSp>
      <p:sp>
        <p:nvSpPr>
          <p:cNvPr id="5" name="Marcador de título 4">
            <a:extLst>
              <a:ext uri="{FF2B5EF4-FFF2-40B4-BE49-F238E27FC236}">
                <a16:creationId xmlns:a16="http://schemas.microsoft.com/office/drawing/2014/main" id="{4C67B2B4-379C-7A3E-FA61-A15A8B4738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671" y="242255"/>
            <a:ext cx="10515600" cy="8658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FF4B409F-F4CE-07FD-2507-1FF4FD4518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581153"/>
            <a:ext cx="10515600" cy="45952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F1D93B5B-558E-ECD7-4484-027CB530852E}"/>
              </a:ext>
            </a:extLst>
          </p:cNvPr>
          <p:cNvCxnSpPr/>
          <p:nvPr/>
        </p:nvCxnSpPr>
        <p:spPr>
          <a:xfrm>
            <a:off x="847722" y="1114417"/>
            <a:ext cx="10477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n 12">
            <a:extLst>
              <a:ext uri="{FF2B5EF4-FFF2-40B4-BE49-F238E27FC236}">
                <a16:creationId xmlns:a16="http://schemas.microsoft.com/office/drawing/2014/main" id="{DF0CE4D3-BFCC-88A7-5E6C-983B8D015D5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0" y="5598629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545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6" r:id="rId5"/>
    <p:sldLayoutId id="2147483699" r:id="rId6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933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67" kern="1200" baseline="0">
          <a:solidFill>
            <a:schemeClr val="accent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198">
          <p15:clr>
            <a:srgbClr val="F26B43"/>
          </p15:clr>
        </p15:guide>
        <p15:guide id="4" orient="horz" pos="205">
          <p15:clr>
            <a:srgbClr val="F26B43"/>
          </p15:clr>
        </p15:guide>
        <p15:guide id="5" pos="5581">
          <p15:clr>
            <a:srgbClr val="F26B43"/>
          </p15:clr>
        </p15:guide>
        <p15:guide id="7" orient="horz" pos="79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8" imgW="359" imgH="355" progId="TCLayout.ActiveDocument.1">
                  <p:embed/>
                </p:oleObj>
              </mc:Choice>
              <mc:Fallback>
                <p:oleObj name="Diapositiva de think-cell" r:id="rId18" imgW="359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o 6">
            <a:extLst>
              <a:ext uri="{FF2B5EF4-FFF2-40B4-BE49-F238E27FC236}">
                <a16:creationId xmlns:a16="http://schemas.microsoft.com/office/drawing/2014/main" id="{F246AD8A-13A8-AD45-A853-196B64D14D86}"/>
              </a:ext>
            </a:extLst>
          </p:cNvPr>
          <p:cNvGrpSpPr/>
          <p:nvPr userDrawn="1"/>
        </p:nvGrpSpPr>
        <p:grpSpPr>
          <a:xfrm>
            <a:off x="10869235" y="6305566"/>
            <a:ext cx="1001260" cy="310180"/>
            <a:chOff x="7785861" y="4639396"/>
            <a:chExt cx="1111660" cy="344382"/>
          </a:xfrm>
        </p:grpSpPr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3CDBEAD3-8A02-4543-B455-7EACBA27B583}"/>
                </a:ext>
              </a:extLst>
            </p:cNvPr>
            <p:cNvSpPr/>
            <p:nvPr userDrawn="1"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A29E6964-5BF6-6C4A-AF1F-349FC1884D2A}"/>
                </a:ext>
              </a:extLst>
            </p:cNvPr>
            <p:cNvSpPr/>
            <p:nvPr userDrawn="1"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accent1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>
                <a:solidFill>
                  <a:schemeClr val="accent1"/>
                </a:solidFill>
              </a:endParaRPr>
            </a:p>
          </p:txBody>
        </p:sp>
      </p:grpSp>
      <p:sp>
        <p:nvSpPr>
          <p:cNvPr id="4" name="CuadroTexto 3">
            <a:extLst>
              <a:ext uri="{FF2B5EF4-FFF2-40B4-BE49-F238E27FC236}">
                <a16:creationId xmlns:a16="http://schemas.microsoft.com/office/drawing/2014/main" id="{A1A55D0E-FB0E-C603-FC88-2ADE93E4470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320463" y="63500"/>
            <a:ext cx="83343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ES" sz="1000">
                <a:solidFill>
                  <a:srgbClr val="000000">
                    <a:alpha val="50000"/>
                  </a:srgbClr>
                </a:solidFill>
                <a:latin typeface="Aptos" panose="020B0004020202020204" pitchFamily="34" charset="0"/>
              </a:rPr>
              <a:t>INTERNAL USE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D7E4D5F3-41F7-7436-2535-8933FCDBFA8A}"/>
              </a:ext>
            </a:extLst>
          </p:cNvPr>
          <p:cNvSpPr/>
          <p:nvPr userDrawn="1"/>
        </p:nvSpPr>
        <p:spPr>
          <a:xfrm>
            <a:off x="10875704" y="0"/>
            <a:ext cx="1316296" cy="323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963962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</p:sldLayoutIdLst>
  <p:hf hd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198">
          <p15:clr>
            <a:srgbClr val="F26B43"/>
          </p15:clr>
        </p15:guide>
        <p15:guide id="4" orient="horz" pos="205">
          <p15:clr>
            <a:srgbClr val="F26B43"/>
          </p15:clr>
        </p15:guide>
        <p15:guide id="5" pos="5581">
          <p15:clr>
            <a:srgbClr val="F26B43"/>
          </p15:clr>
        </p15:guide>
        <p15:guide id="7" orient="horz" pos="79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4.jpg"/><Relationship Id="rId5" Type="http://schemas.openxmlformats.org/officeDocument/2006/relationships/image" Target="../media/image53.jpg"/><Relationship Id="rId4" Type="http://schemas.openxmlformats.org/officeDocument/2006/relationships/image" Target="../media/image52.jp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7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4385" name="Object 115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64385" name="Object 115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anchor="ctr" anchorCtr="0">
            <a:noAutofit/>
          </a:bodyPr>
          <a:lstStyle/>
          <a:p>
            <a:pPr marL="0" marR="0" lvl="0" indent="0" algn="ctr" defTabSz="914377" rtl="0" eaLnBrk="1" fontAlgn="base" latinLnBrk="0" hangingPunct="1">
              <a:lnSpc>
                <a:spcPts val="3551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F1D89778-814F-6748-39FE-0B46F6AC63EF}"/>
              </a:ext>
            </a:extLst>
          </p:cNvPr>
          <p:cNvGrpSpPr/>
          <p:nvPr/>
        </p:nvGrpSpPr>
        <p:grpSpPr>
          <a:xfrm>
            <a:off x="0" y="1083"/>
            <a:ext cx="12192000" cy="6858000"/>
            <a:chOff x="3329" y="0"/>
            <a:chExt cx="9144000" cy="5143500"/>
          </a:xfrm>
        </p:grpSpPr>
        <p:pic>
          <p:nvPicPr>
            <p:cNvPr id="7" name="Imagen 6" descr="Imagen que contiene persona, hombre, azul, sostener&#10;&#10;Descripción generada automáticamente">
              <a:extLst>
                <a:ext uri="{FF2B5EF4-FFF2-40B4-BE49-F238E27FC236}">
                  <a16:creationId xmlns:a16="http://schemas.microsoft.com/office/drawing/2014/main" id="{DF3B798E-59EB-6440-80A2-29FAB5E48A4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29" y="0"/>
              <a:ext cx="9144000" cy="5143500"/>
            </a:xfrm>
            <a:prstGeom prst="rect">
              <a:avLst/>
            </a:prstGeom>
          </p:spPr>
        </p:pic>
        <p:grpSp>
          <p:nvGrpSpPr>
            <p:cNvPr id="5" name="Grupo 4">
              <a:extLst>
                <a:ext uri="{FF2B5EF4-FFF2-40B4-BE49-F238E27FC236}">
                  <a16:creationId xmlns:a16="http://schemas.microsoft.com/office/drawing/2014/main" id="{DC3F117F-13C1-1D46-A3AE-DF7EDB740843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1" name="Forma libre 10">
                <a:extLst>
                  <a:ext uri="{FF2B5EF4-FFF2-40B4-BE49-F238E27FC236}">
                    <a16:creationId xmlns:a16="http://schemas.microsoft.com/office/drawing/2014/main" id="{B3B8A3B0-748C-6945-8023-DD6FEFF09BFB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" name="Forma libre 11">
                <a:extLst>
                  <a:ext uri="{FF2B5EF4-FFF2-40B4-BE49-F238E27FC236}">
                    <a16:creationId xmlns:a16="http://schemas.microsoft.com/office/drawing/2014/main" id="{AC3471E4-D1D9-AC49-A5BE-D738E8B0ADBB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7" name="Redondear rectángulo de una esquina 16">
              <a:extLst>
                <a:ext uri="{FF2B5EF4-FFF2-40B4-BE49-F238E27FC236}">
                  <a16:creationId xmlns:a16="http://schemas.microsoft.com/office/drawing/2014/main" id="{2FB84212-BBB9-7249-A458-A9941132C575}"/>
                </a:ext>
              </a:extLst>
            </p:cNvPr>
            <p:cNvSpPr/>
            <p:nvPr/>
          </p:nvSpPr>
          <p:spPr>
            <a:xfrm flipV="1">
              <a:off x="213360" y="314960"/>
              <a:ext cx="8727440" cy="4551680"/>
            </a:xfrm>
            <a:prstGeom prst="round1Rect">
              <a:avLst>
                <a:gd name="adj" fmla="val 11980"/>
              </a:avLst>
            </a:prstGeom>
            <a:noFill/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8" name="Grupo 17">
              <a:extLst>
                <a:ext uri="{FF2B5EF4-FFF2-40B4-BE49-F238E27FC236}">
                  <a16:creationId xmlns:a16="http://schemas.microsoft.com/office/drawing/2014/main" id="{9A0F6F7D-F76C-DF4F-8B6D-3A97AD255DB5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9" name="Forma libre 18">
                <a:extLst>
                  <a:ext uri="{FF2B5EF4-FFF2-40B4-BE49-F238E27FC236}">
                    <a16:creationId xmlns:a16="http://schemas.microsoft.com/office/drawing/2014/main" id="{F61FD350-7384-FC4E-A8FA-1FE760EAEEFB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Forma libre 19">
                <a:extLst>
                  <a:ext uri="{FF2B5EF4-FFF2-40B4-BE49-F238E27FC236}">
                    <a16:creationId xmlns:a16="http://schemas.microsoft.com/office/drawing/2014/main" id="{4C866C15-9DA1-4244-A58E-93E1550697A8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4" name="CuadroTexto 3">
            <a:extLst>
              <a:ext uri="{FF2B5EF4-FFF2-40B4-BE49-F238E27FC236}">
                <a16:creationId xmlns:a16="http://schemas.microsoft.com/office/drawing/2014/main" id="{D71BBBED-C082-9129-962D-7BE8E334FE01}"/>
              </a:ext>
            </a:extLst>
          </p:cNvPr>
          <p:cNvSpPr txBox="1"/>
          <p:nvPr/>
        </p:nvSpPr>
        <p:spPr>
          <a:xfrm>
            <a:off x="845067" y="2128877"/>
            <a:ext cx="733392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400" b="1" i="0" u="none" strike="noStrike" kern="1200" cap="none" spc="0" normalizeH="0" baseline="0" noProof="0" dirty="0">
                <a:ln>
                  <a:noFill/>
                </a:ln>
                <a:solidFill>
                  <a:srgbClr val="00F0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iesgo cardiovascular en </a:t>
            </a:r>
            <a:r>
              <a:rPr lang="es-ES" sz="4400" b="1" dirty="0">
                <a:solidFill>
                  <a:srgbClr val="00F0BE"/>
                </a:solidFill>
                <a:latin typeface="Arial"/>
              </a:rPr>
              <a:t>p</a:t>
            </a:r>
            <a:r>
              <a:rPr kumimoji="0" lang="es-ES" sz="4400" b="1" i="0" u="none" strike="noStrike" kern="1200" cap="none" spc="0" normalizeH="0" baseline="0" noProof="0" dirty="0" err="1">
                <a:ln>
                  <a:noFill/>
                </a:ln>
                <a:solidFill>
                  <a:srgbClr val="00F0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rsonas</a:t>
            </a:r>
            <a:r>
              <a:rPr kumimoji="0" lang="es-ES" sz="4400" b="1" i="0" u="none" strike="noStrike" kern="1200" cap="none" spc="0" normalizeH="0" baseline="0" noProof="0" dirty="0">
                <a:ln>
                  <a:noFill/>
                </a:ln>
                <a:solidFill>
                  <a:srgbClr val="00F0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 raza </a:t>
            </a:r>
            <a:r>
              <a:rPr lang="es-ES" sz="4400" b="1" dirty="0">
                <a:solidFill>
                  <a:srgbClr val="00F0BE"/>
                </a:solidFill>
                <a:latin typeface="Arial"/>
              </a:rPr>
              <a:t>n</a:t>
            </a:r>
            <a:r>
              <a:rPr kumimoji="0" lang="es-ES" sz="4400" b="1" i="0" u="none" strike="noStrike" kern="1200" cap="none" spc="0" normalizeH="0" baseline="0" noProof="0" dirty="0" err="1">
                <a:ln>
                  <a:noFill/>
                </a:ln>
                <a:solidFill>
                  <a:srgbClr val="00F0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gra</a:t>
            </a:r>
            <a:endParaRPr kumimoji="0" lang="es-ES" sz="4400" b="1" i="0" u="none" strike="noStrike" kern="1200" cap="none" spc="0" normalizeH="0" baseline="0" noProof="0" dirty="0">
              <a:ln>
                <a:noFill/>
              </a:ln>
              <a:solidFill>
                <a:srgbClr val="00F0B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123DBE31-3674-DC32-88E2-87F7F1052B61}"/>
              </a:ext>
            </a:extLst>
          </p:cNvPr>
          <p:cNvSpPr txBox="1"/>
          <p:nvPr/>
        </p:nvSpPr>
        <p:spPr>
          <a:xfrm>
            <a:off x="640012" y="5273749"/>
            <a:ext cx="430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dirty="0">
                <a:solidFill>
                  <a:schemeClr val="bg2">
                    <a:lumMod val="85000"/>
                  </a:schemeClr>
                </a:solidFill>
              </a:rPr>
              <a:t>Filiación:</a:t>
            </a:r>
          </a:p>
          <a:p>
            <a:r>
              <a:rPr lang="es-ES_tradnl" dirty="0">
                <a:solidFill>
                  <a:schemeClr val="bg2">
                    <a:lumMod val="85000"/>
                  </a:schemeClr>
                </a:solidFill>
              </a:rPr>
              <a:t>Dr./</a:t>
            </a:r>
            <a:r>
              <a:rPr lang="es-ES_tradnl" dirty="0" err="1">
                <a:solidFill>
                  <a:schemeClr val="bg2">
                    <a:lumMod val="85000"/>
                  </a:schemeClr>
                </a:solidFill>
              </a:rPr>
              <a:t>Dra</a:t>
            </a:r>
            <a:r>
              <a:rPr lang="es-ES_tradnl" dirty="0">
                <a:solidFill>
                  <a:schemeClr val="bg2">
                    <a:lumMod val="85000"/>
                  </a:schemeClr>
                </a:solidFill>
              </a:rPr>
              <a:t>:</a:t>
            </a:r>
            <a:endParaRPr lang="es-ES" dirty="0">
              <a:solidFill>
                <a:schemeClr val="bg2">
                  <a:lumMod val="85000"/>
                </a:schemeClr>
              </a:solidFill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CDC10B0F-C2D7-FB48-2E4E-673110431B36}"/>
              </a:ext>
            </a:extLst>
          </p:cNvPr>
          <p:cNvSpPr txBox="1"/>
          <p:nvPr/>
        </p:nvSpPr>
        <p:spPr>
          <a:xfrm>
            <a:off x="3899647" y="6020342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b="0" i="0" dirty="0">
                <a:solidFill>
                  <a:srgbClr val="1D1D1D"/>
                </a:solidFill>
                <a:effectLst/>
                <a:latin typeface="Arial" panose="020B0604020202020204" pitchFamily="34" charset="0"/>
              </a:rPr>
              <a:t>MA-ES-NOP-2500010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582227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5DA5B9-9671-EF80-5D79-6D6A881C04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CD10236-7C1A-7C86-D553-6637CF94BE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679" y="1543067"/>
            <a:ext cx="5941837" cy="246221"/>
          </a:xfrm>
          <a:noFill/>
        </p:spPr>
        <p:txBody>
          <a:bodyPr wrap="square">
            <a:spAutoFit/>
          </a:bodyPr>
          <a:lstStyle/>
          <a:p>
            <a:pPr defTabSz="914400"/>
            <a:r>
              <a:rPr lang="es-ES" sz="1600" dirty="0">
                <a:latin typeface="+mn-lt"/>
                <a:ea typeface="+mn-ea"/>
                <a:cs typeface="+mn-cs"/>
              </a:rPr>
              <a:t>Guía ESC/EAS 2019 sobre el tratamiento de las dislipemias</a:t>
            </a:r>
            <a:r>
              <a:rPr lang="es-ES" sz="1600" baseline="30000" dirty="0">
                <a:latin typeface="+mn-lt"/>
                <a:ea typeface="+mn-ea"/>
                <a:cs typeface="+mn-cs"/>
              </a:rPr>
              <a:t>1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4EFCD73E-95AF-5D3B-0FD6-D28A41C2778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7127"/>
          <a:stretch/>
        </p:blipFill>
        <p:spPr>
          <a:xfrm>
            <a:off x="7144089" y="1726583"/>
            <a:ext cx="4199863" cy="4416927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C19F5CF0-F531-696D-8FB9-0BB51EBD0437}"/>
              </a:ext>
            </a:extLst>
          </p:cNvPr>
          <p:cNvSpPr txBox="1"/>
          <p:nvPr/>
        </p:nvSpPr>
        <p:spPr>
          <a:xfrm>
            <a:off x="1166040" y="6263898"/>
            <a:ext cx="5721345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700" b="0" i="1" dirty="0">
                <a:solidFill>
                  <a:schemeClr val="accent1"/>
                </a:solidFill>
                <a:effectLst/>
              </a:rPr>
              <a:t>1. Mach F. et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atl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, </a:t>
            </a:r>
            <a:r>
              <a:rPr lang="es-ES" sz="700" b="0" i="1" dirty="0">
                <a:solidFill>
                  <a:schemeClr val="accent1"/>
                </a:solidFill>
                <a:effectLst/>
              </a:rPr>
              <a:t>Guía ESC/EAS 2019 sobre el tratamiento de las dislipemias: modificación de los lípidos para reducir el riesgo cardiovascular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Rev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Esp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Cardiol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. 2020;73(5):403.e1–403.e70, https://doi.org/10.1016/j.recesp.2019.11.009 </a:t>
            </a:r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0BB9BFD3-D6BE-E8EE-E534-E546C2FDAE4B}"/>
              </a:ext>
            </a:extLst>
          </p:cNvPr>
          <p:cNvSpPr txBox="1">
            <a:spLocks/>
          </p:cNvSpPr>
          <p:nvPr/>
        </p:nvSpPr>
        <p:spPr>
          <a:xfrm>
            <a:off x="619680" y="2696412"/>
            <a:ext cx="6022252" cy="344709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 defTabSz="914400"/>
            <a:r>
              <a:rPr lang="es-ES" sz="1400" b="0" dirty="0">
                <a:latin typeface="+mn-lt"/>
                <a:ea typeface="+mn-ea"/>
                <a:cs typeface="+mn-cs"/>
              </a:rPr>
              <a:t>Las guías recomiendan:</a:t>
            </a:r>
          </a:p>
          <a:p>
            <a:pPr algn="just" defTabSz="914400"/>
            <a:endParaRPr lang="es-ES" sz="1050" b="0" dirty="0">
              <a:latin typeface="+mn-lt"/>
              <a:ea typeface="+mn-ea"/>
              <a:cs typeface="+mn-cs"/>
            </a:endParaRPr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r>
              <a:rPr lang="es-ES" sz="1400" b="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Calcular el riesgo cardiovascular (RCV) de cada paciente</a:t>
            </a:r>
            <a:r>
              <a:rPr lang="es-ES" sz="1400" b="0" baseline="300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1</a:t>
            </a:r>
            <a:r>
              <a:rPr lang="es-ES" sz="1400" b="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endParaRPr lang="es-ES" sz="1400" dirty="0">
              <a:solidFill>
                <a:schemeClr val="accent1"/>
              </a:solidFill>
            </a:endParaRPr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endParaRPr lang="es-ES" sz="1400" b="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endParaRPr lang="es-ES" sz="1400" dirty="0">
              <a:solidFill>
                <a:schemeClr val="accent1"/>
              </a:solidFill>
            </a:endParaRPr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endParaRPr lang="es-ES" sz="1400" b="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endParaRPr lang="es-ES" sz="1400" dirty="0">
              <a:solidFill>
                <a:schemeClr val="accent1"/>
              </a:solidFill>
            </a:endParaRPr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endParaRPr lang="es-ES" sz="1400" b="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endParaRPr lang="es-ES" sz="1400" dirty="0">
              <a:solidFill>
                <a:schemeClr val="accent1"/>
              </a:solidFill>
            </a:endParaRPr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endParaRPr lang="es-ES" sz="1200" dirty="0">
              <a:solidFill>
                <a:schemeClr val="accent1"/>
              </a:solidFill>
            </a:endParaRPr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r>
              <a:rPr lang="es-ES" sz="1400" dirty="0">
                <a:solidFill>
                  <a:schemeClr val="accent1"/>
                </a:solidFill>
              </a:rPr>
              <a:t>Definir el objetivo terapéutico de cada paciente según su RCV  </a:t>
            </a:r>
            <a:r>
              <a:rPr lang="es-ES" sz="1400" b="0" baseline="300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1</a:t>
            </a:r>
            <a:r>
              <a:rPr lang="es-ES" sz="1400" dirty="0">
                <a:solidFill>
                  <a:schemeClr val="accent1"/>
                </a:solidFill>
              </a:rPr>
              <a:t>.</a:t>
            </a:r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endParaRPr lang="es-ES" sz="1400" b="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r>
              <a:rPr lang="es-ES" sz="1400" b="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Hacer una intensificación del tratamiento para lograr objetivos terapéuticos, </a:t>
            </a:r>
            <a:r>
              <a:rPr lang="es-ES" sz="1400" dirty="0">
                <a:solidFill>
                  <a:schemeClr val="accent1"/>
                </a:solidFill>
              </a:rPr>
              <a:t>e</a:t>
            </a:r>
            <a:r>
              <a:rPr lang="es-ES" sz="1400" b="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mpezando por una estatina de alta intensidad a máxima dosis tolerada en el primer escalón terapéutico</a:t>
            </a:r>
            <a:r>
              <a:rPr lang="es-ES" sz="1400" b="0" baseline="300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1</a:t>
            </a:r>
            <a:r>
              <a:rPr lang="es-ES" sz="1400" b="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.  </a:t>
            </a:r>
          </a:p>
        </p:txBody>
      </p:sp>
      <p:sp>
        <p:nvSpPr>
          <p:cNvPr id="15" name="Título 1">
            <a:extLst>
              <a:ext uri="{FF2B5EF4-FFF2-40B4-BE49-F238E27FC236}">
                <a16:creationId xmlns:a16="http://schemas.microsoft.com/office/drawing/2014/main" id="{18AF5769-C187-2460-4F7E-AB9F780E94B6}"/>
              </a:ext>
            </a:extLst>
          </p:cNvPr>
          <p:cNvSpPr txBox="1">
            <a:spLocks/>
          </p:cNvSpPr>
          <p:nvPr/>
        </p:nvSpPr>
        <p:spPr>
          <a:xfrm>
            <a:off x="700093" y="1991248"/>
            <a:ext cx="5941838" cy="43088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 algn="just" defTabSz="914400">
              <a:buFont typeface="Wingdings" panose="05000000000000000000" pitchFamily="2" charset="2"/>
              <a:buChar char="§"/>
            </a:pPr>
            <a:r>
              <a:rPr lang="es-ES" sz="1400" b="0" dirty="0">
                <a:latin typeface="+mn-lt"/>
                <a:ea typeface="+mn-ea"/>
                <a:cs typeface="+mn-cs"/>
              </a:rPr>
              <a:t>Las guías del ESC no ofrecen ninguna recomendación específica para personas de raza negra.</a:t>
            </a:r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83427B97-4716-58A3-37AE-029F38DC6E61}"/>
              </a:ext>
            </a:extLst>
          </p:cNvPr>
          <p:cNvSpPr txBox="1">
            <a:spLocks/>
          </p:cNvSpPr>
          <p:nvPr/>
        </p:nvSpPr>
        <p:spPr>
          <a:xfrm>
            <a:off x="394955" y="160786"/>
            <a:ext cx="11473957" cy="467219"/>
          </a:xfrm>
          <a:prstGeom prst="rect">
            <a:avLst/>
          </a:prstGeom>
          <a:solidFill>
            <a:schemeClr val="accent5"/>
          </a:solidFill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dirty="0"/>
              <a:t>Factores de riesgo cardiovascular y su manejo en raza negra:</a:t>
            </a:r>
          </a:p>
        </p:txBody>
      </p:sp>
      <p:sp>
        <p:nvSpPr>
          <p:cNvPr id="17" name="Título 1">
            <a:extLst>
              <a:ext uri="{FF2B5EF4-FFF2-40B4-BE49-F238E27FC236}">
                <a16:creationId xmlns:a16="http://schemas.microsoft.com/office/drawing/2014/main" id="{5D902289-C02E-B08C-D9A5-45DC375710B9}"/>
              </a:ext>
            </a:extLst>
          </p:cNvPr>
          <p:cNvSpPr txBox="1">
            <a:spLocks/>
          </p:cNvSpPr>
          <p:nvPr/>
        </p:nvSpPr>
        <p:spPr>
          <a:xfrm>
            <a:off x="394955" y="628006"/>
            <a:ext cx="11473957" cy="51652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dirty="0"/>
              <a:t>Perfil lipídico: Colesterol Total, LDL-c, Triglicéridos, HDL-c y </a:t>
            </a:r>
            <a:r>
              <a:rPr lang="es-ES" sz="2400" dirty="0" err="1"/>
              <a:t>Lp</a:t>
            </a:r>
            <a:r>
              <a:rPr lang="es-ES" sz="2400" dirty="0"/>
              <a:t>(a) 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09CD9361-759C-5096-BC59-94347EC585BF}"/>
              </a:ext>
            </a:extLst>
          </p:cNvPr>
          <p:cNvSpPr txBox="1"/>
          <p:nvPr/>
        </p:nvSpPr>
        <p:spPr>
          <a:xfrm>
            <a:off x="6887385" y="1400990"/>
            <a:ext cx="476886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b="1" i="0" u="none" strike="noStrike" baseline="0" dirty="0">
                <a:solidFill>
                  <a:srgbClr val="000000"/>
                </a:solidFill>
                <a:latin typeface="Akzidenz Grotesk BE Bold"/>
              </a:rPr>
              <a:t>Recomendaciones ESC 2024 para el manejo de la dislipemia</a:t>
            </a:r>
            <a:r>
              <a:rPr lang="es-ES" sz="1400" b="1" i="0" u="none" strike="noStrike" baseline="30000" dirty="0">
                <a:solidFill>
                  <a:srgbClr val="000000"/>
                </a:solidFill>
              </a:rPr>
              <a:t>1</a:t>
            </a:r>
            <a:endParaRPr lang="es-ES" sz="1400" b="1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4E08C6B6-F37C-A98E-1069-40C0DC1A8AF8}"/>
              </a:ext>
            </a:extLst>
          </p:cNvPr>
          <p:cNvSpPr txBox="1"/>
          <p:nvPr/>
        </p:nvSpPr>
        <p:spPr>
          <a:xfrm>
            <a:off x="8246206" y="6235260"/>
            <a:ext cx="2695575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700" b="1" i="1" dirty="0">
                <a:solidFill>
                  <a:schemeClr val="accent1"/>
                </a:solidFill>
                <a:effectLst/>
              </a:rPr>
              <a:t>Mach F. et </a:t>
            </a:r>
            <a:r>
              <a:rPr lang="pt-BR" sz="700" b="1" i="1" dirty="0" err="1">
                <a:solidFill>
                  <a:schemeClr val="accent1"/>
                </a:solidFill>
                <a:effectLst/>
              </a:rPr>
              <a:t>atl</a:t>
            </a:r>
            <a:r>
              <a:rPr lang="pt-BR" sz="700" b="1" i="1" dirty="0">
                <a:solidFill>
                  <a:schemeClr val="accent1"/>
                </a:solidFill>
                <a:effectLst/>
              </a:rPr>
              <a:t>, </a:t>
            </a:r>
            <a:r>
              <a:rPr lang="pt-BR" sz="700" b="1" i="1" dirty="0" err="1">
                <a:solidFill>
                  <a:schemeClr val="accent1"/>
                </a:solidFill>
                <a:effectLst/>
              </a:rPr>
              <a:t>Rev</a:t>
            </a:r>
            <a:r>
              <a:rPr lang="pt-BR" sz="700" b="1" i="1" dirty="0">
                <a:solidFill>
                  <a:schemeClr val="accent1"/>
                </a:solidFill>
                <a:effectLst/>
              </a:rPr>
              <a:t> </a:t>
            </a:r>
            <a:r>
              <a:rPr lang="pt-BR" sz="700" b="1" i="1" dirty="0" err="1">
                <a:solidFill>
                  <a:schemeClr val="accent1"/>
                </a:solidFill>
                <a:effectLst/>
              </a:rPr>
              <a:t>Esp</a:t>
            </a:r>
            <a:r>
              <a:rPr lang="pt-BR" sz="700" b="1" i="1" dirty="0">
                <a:solidFill>
                  <a:schemeClr val="accent1"/>
                </a:solidFill>
                <a:effectLst/>
              </a:rPr>
              <a:t> </a:t>
            </a:r>
            <a:r>
              <a:rPr lang="pt-BR" sz="700" b="1" i="1" dirty="0" err="1">
                <a:solidFill>
                  <a:schemeClr val="accent1"/>
                </a:solidFill>
                <a:effectLst/>
              </a:rPr>
              <a:t>Cardiol</a:t>
            </a:r>
            <a:r>
              <a:rPr lang="pt-BR" sz="700" b="1" i="1" dirty="0">
                <a:solidFill>
                  <a:schemeClr val="accent1"/>
                </a:solidFill>
                <a:effectLst/>
              </a:rPr>
              <a:t>. 2020;73(5):403.e1–403.e70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ABB42A21-E9AD-1443-66F1-6B9D425EF0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3575" y="3429000"/>
            <a:ext cx="3263153" cy="1311141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9F856910-1E3B-CECD-91EB-2D2706DF4754}"/>
              </a:ext>
            </a:extLst>
          </p:cNvPr>
          <p:cNvSpPr txBox="1"/>
          <p:nvPr/>
        </p:nvSpPr>
        <p:spPr>
          <a:xfrm rot="16200000">
            <a:off x="10584462" y="3677419"/>
            <a:ext cx="25370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0</a:t>
            </a:r>
            <a:endParaRPr lang="es-ES" sz="12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667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537E9F-74A1-FD6C-AC98-C8AB3EC5C6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F7AFDB9-B728-55AE-2AC3-0BB9DF174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900" y="1383586"/>
            <a:ext cx="5331075" cy="215444"/>
          </a:xfrm>
          <a:noFill/>
        </p:spPr>
        <p:txBody>
          <a:bodyPr wrap="square">
            <a:spAutoFit/>
          </a:bodyPr>
          <a:lstStyle/>
          <a:p>
            <a:pPr algn="ctr" defTabSz="914400"/>
            <a:r>
              <a:rPr lang="es-ES" sz="1400" dirty="0">
                <a:solidFill>
                  <a:srgbClr val="000000"/>
                </a:solidFill>
                <a:latin typeface="Akzidenz Grotesk BE Bold"/>
                <a:ea typeface="+mn-ea"/>
                <a:cs typeface="+mn-cs"/>
              </a:rPr>
              <a:t>Algoritmo de tratamiento para la reducción farmacológica del cLDL</a:t>
            </a:r>
            <a:r>
              <a:rPr lang="es-ES" sz="1400" baseline="30000" dirty="0">
                <a:solidFill>
                  <a:srgbClr val="000000"/>
                </a:solidFill>
                <a:latin typeface="Akzidenz Grotesk BE Bold"/>
                <a:ea typeface="+mn-ea"/>
                <a:cs typeface="+mn-cs"/>
              </a:rPr>
              <a:t>1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28C25C2C-42D5-C229-8682-C67A25C86D5B}"/>
              </a:ext>
            </a:extLst>
          </p:cNvPr>
          <p:cNvSpPr txBox="1"/>
          <p:nvPr/>
        </p:nvSpPr>
        <p:spPr>
          <a:xfrm>
            <a:off x="593892" y="6296166"/>
            <a:ext cx="489456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700" b="0" i="1" dirty="0">
                <a:solidFill>
                  <a:schemeClr val="accent1"/>
                </a:solidFill>
                <a:effectLst/>
              </a:rPr>
              <a:t>1. Mach F. et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atl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, </a:t>
            </a:r>
            <a:r>
              <a:rPr lang="es-ES" sz="700" b="0" i="1" dirty="0">
                <a:solidFill>
                  <a:schemeClr val="accent1"/>
                </a:solidFill>
                <a:effectLst/>
              </a:rPr>
              <a:t>Guía ESC/EAS 2019 sobre el tratamiento de las dislipemias: modificación de los lípidos para reducir el riesgo cardiovascular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Rev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Esp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Cardiol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. 2020;73(5):403.e1–403.e70, https://doi.org/10.1016/j.recesp.2019.11.009 </a:t>
            </a:r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9B5A8F6A-60B8-2CE5-17C7-80128A9A3507}"/>
              </a:ext>
            </a:extLst>
          </p:cNvPr>
          <p:cNvSpPr txBox="1">
            <a:spLocks/>
          </p:cNvSpPr>
          <p:nvPr/>
        </p:nvSpPr>
        <p:spPr>
          <a:xfrm>
            <a:off x="394955" y="160786"/>
            <a:ext cx="11473957" cy="467219"/>
          </a:xfrm>
          <a:prstGeom prst="rect">
            <a:avLst/>
          </a:prstGeom>
          <a:solidFill>
            <a:schemeClr val="accent5"/>
          </a:solidFill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dirty="0"/>
              <a:t>Factores de riesgo cardiovascular y su manejo en raza negra:</a:t>
            </a:r>
          </a:p>
        </p:txBody>
      </p:sp>
      <p:sp>
        <p:nvSpPr>
          <p:cNvPr id="17" name="Título 1">
            <a:extLst>
              <a:ext uri="{FF2B5EF4-FFF2-40B4-BE49-F238E27FC236}">
                <a16:creationId xmlns:a16="http://schemas.microsoft.com/office/drawing/2014/main" id="{11DC429E-A204-AF50-8AD1-F35E07E0A2A7}"/>
              </a:ext>
            </a:extLst>
          </p:cNvPr>
          <p:cNvSpPr txBox="1">
            <a:spLocks/>
          </p:cNvSpPr>
          <p:nvPr/>
        </p:nvSpPr>
        <p:spPr>
          <a:xfrm>
            <a:off x="394955" y="628006"/>
            <a:ext cx="11473957" cy="51652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dirty="0"/>
              <a:t>Perfil lipídico: Colesterol Total, LDL-c, Triglicéridos, HDL-c y </a:t>
            </a:r>
            <a:r>
              <a:rPr lang="es-ES" sz="2400" dirty="0" err="1"/>
              <a:t>Lp</a:t>
            </a:r>
            <a:r>
              <a:rPr lang="es-ES" sz="2400" dirty="0"/>
              <a:t>(a) 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14D52EC0-DAB5-9608-B468-4C3D43A8D10D}"/>
              </a:ext>
            </a:extLst>
          </p:cNvPr>
          <p:cNvSpPr txBox="1"/>
          <p:nvPr/>
        </p:nvSpPr>
        <p:spPr>
          <a:xfrm>
            <a:off x="6637950" y="1599030"/>
            <a:ext cx="4768865" cy="43088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marR="0" indent="0" algn="ctr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400" b="1" baseline="0" noProof="0" dirty="0">
                <a:solidFill>
                  <a:srgbClr val="000000"/>
                </a:solidFill>
                <a:latin typeface="Akzidenz Grotesk BE Bold"/>
              </a:defRPr>
            </a:lvl1pPr>
          </a:lstStyle>
          <a:p>
            <a:r>
              <a:rPr lang="es-ES" dirty="0"/>
              <a:t>Objetivos terapéuticos para el </a:t>
            </a:r>
            <a:r>
              <a:rPr lang="es-ES" dirty="0" err="1"/>
              <a:t>cLDL</a:t>
            </a:r>
            <a:r>
              <a:rPr lang="es-ES" dirty="0"/>
              <a:t> en las distintas categorías de riesgo cardiovascular total</a:t>
            </a:r>
            <a:r>
              <a:rPr lang="es-ES" baseline="30000" dirty="0"/>
              <a:t>2</a:t>
            </a:r>
            <a:endParaRPr lang="es-ES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4F238163-15F0-F0A8-C28D-8B1A4301C5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3892" y="1719807"/>
            <a:ext cx="4960160" cy="4510187"/>
          </a:xfrm>
          <a:prstGeom prst="rect">
            <a:avLst/>
          </a:prstGeom>
          <a:ln w="19050">
            <a:solidFill>
              <a:schemeClr val="accent3"/>
            </a:solidFill>
          </a:ln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937ED56-568E-E602-2CB0-652CE618959E}"/>
              </a:ext>
            </a:extLst>
          </p:cNvPr>
          <p:cNvSpPr txBox="1"/>
          <p:nvPr/>
        </p:nvSpPr>
        <p:spPr>
          <a:xfrm rot="16200000">
            <a:off x="10600406" y="3649093"/>
            <a:ext cx="25370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0</a:t>
            </a:r>
            <a:endParaRPr lang="es-ES" sz="1200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4E6D74DF-FC82-1184-D936-95800F9A78B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9921" t="9546" r="9364" b="6022"/>
          <a:stretch>
            <a:fillRect/>
          </a:stretch>
        </p:blipFill>
        <p:spPr>
          <a:xfrm>
            <a:off x="6010943" y="2061330"/>
            <a:ext cx="5701999" cy="3827139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6C4B71F8-9BDB-E9E1-3940-38E3F91E95B4}"/>
              </a:ext>
            </a:extLst>
          </p:cNvPr>
          <p:cNvSpPr txBox="1"/>
          <p:nvPr/>
        </p:nvSpPr>
        <p:spPr>
          <a:xfrm>
            <a:off x="6419088" y="6250000"/>
            <a:ext cx="5311323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dirty="0"/>
              <a:t>2. Mach F, et al. 2025 Focused Update of the 2019 ESC/EAS Guidelines for the management of </a:t>
            </a:r>
            <a:r>
              <a:rPr lang="en-US" dirty="0" err="1"/>
              <a:t>Dyslipidaemias</a:t>
            </a:r>
            <a:r>
              <a:rPr lang="en-US" dirty="0"/>
              <a:t>. European Heart Journal (2025) 00, 1–20 https://doi.org/10.1093/eurheartj/ehaf190</a:t>
            </a:r>
            <a:endParaRPr lang="es-ES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BE8DB592-C52A-25F6-6B8F-F43DB71B2A0E}"/>
              </a:ext>
            </a:extLst>
          </p:cNvPr>
          <p:cNvSpPr txBox="1"/>
          <p:nvPr/>
        </p:nvSpPr>
        <p:spPr>
          <a:xfrm>
            <a:off x="2839453" y="5585022"/>
            <a:ext cx="109209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700" dirty="0">
                <a:solidFill>
                  <a:schemeClr val="tx1">
                    <a:lumMod val="50000"/>
                  </a:schemeClr>
                </a:solidFill>
              </a:rPr>
              <a:t>y/o ácido bempedóico</a:t>
            </a:r>
            <a:endParaRPr lang="es-ES" sz="700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53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3F4CC078-ECB2-5BC6-113B-4758E3BF667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47066"/>
          <a:stretch/>
        </p:blipFill>
        <p:spPr>
          <a:xfrm>
            <a:off x="6899074" y="3189829"/>
            <a:ext cx="4209747" cy="2568324"/>
          </a:xfrm>
          <a:prstGeom prst="rect">
            <a:avLst/>
          </a:prstGeom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3F00F4EA-B9D4-C5B5-F95D-9D0BFBFC92B7}"/>
              </a:ext>
            </a:extLst>
          </p:cNvPr>
          <p:cNvSpPr txBox="1"/>
          <p:nvPr/>
        </p:nvSpPr>
        <p:spPr>
          <a:xfrm>
            <a:off x="6693314" y="2090346"/>
            <a:ext cx="4896930" cy="861774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s-ES" sz="1400" dirty="0"/>
              <a:t>En prevención secundaria (al año de sufrir un evento CV), hubo un uso subóptimo de estatinas (cualquier estatina &lt;60 %) en todos los grupos, con proporciones más bajas en pacientes de raza negra (46,7 %, cualquier estatina)</a:t>
            </a:r>
            <a:r>
              <a:rPr lang="es-ES" sz="1400" baseline="30000" dirty="0"/>
              <a:t>4</a:t>
            </a:r>
            <a:r>
              <a:rPr lang="es-ES" sz="1400" dirty="0"/>
              <a:t>.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8A477B96-03EF-1922-23C5-927F084849DC}"/>
              </a:ext>
            </a:extLst>
          </p:cNvPr>
          <p:cNvSpPr txBox="1"/>
          <p:nvPr/>
        </p:nvSpPr>
        <p:spPr>
          <a:xfrm>
            <a:off x="879191" y="5067829"/>
            <a:ext cx="5133451" cy="86177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s-ES" sz="1400" dirty="0"/>
              <a:t>El uso de estatinas para prevención primaria es el más bajo en personas negras entre las diferentes razas</a:t>
            </a:r>
            <a:r>
              <a:rPr lang="es-ES" sz="1400" baseline="30000" dirty="0"/>
              <a:t>2</a:t>
            </a:r>
            <a:r>
              <a:rPr lang="es-ES" sz="1400" dirty="0"/>
              <a:t>. Las disparidades en el uso pueden estar mediadas por prejuicios, estereotipos y desconfianza</a:t>
            </a:r>
            <a:r>
              <a:rPr lang="es-ES" sz="1400" baseline="30000" dirty="0"/>
              <a:t>2 </a:t>
            </a:r>
            <a:r>
              <a:rPr lang="es-ES" sz="1400" dirty="0"/>
              <a:t>y al escaso acceso a la atención médica</a:t>
            </a:r>
            <a:r>
              <a:rPr lang="es-ES" sz="1400" baseline="30000" dirty="0"/>
              <a:t>3</a:t>
            </a:r>
            <a:r>
              <a:rPr lang="es-ES" sz="1400" dirty="0"/>
              <a:t>.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E11A75DC-952F-AED9-F995-BDE8204A4B02}"/>
              </a:ext>
            </a:extLst>
          </p:cNvPr>
          <p:cNvSpPr txBox="1"/>
          <p:nvPr/>
        </p:nvSpPr>
        <p:spPr>
          <a:xfrm>
            <a:off x="925171" y="6130444"/>
            <a:ext cx="10174941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b="1" dirty="0"/>
              <a:t>1</a:t>
            </a:r>
            <a:r>
              <a:rPr lang="en-US" dirty="0"/>
              <a:t>. Martin SS, et al. 2025 Heart Disease and Stroke Statistics: A Report of US and Global Data From the American Heart Association. </a:t>
            </a:r>
            <a:r>
              <a:rPr lang="pt-BR" dirty="0" err="1"/>
              <a:t>Circulation</a:t>
            </a:r>
            <a:r>
              <a:rPr lang="pt-BR" dirty="0"/>
              <a:t>. 2025 </a:t>
            </a:r>
            <a:r>
              <a:rPr lang="pt-BR" dirty="0" err="1"/>
              <a:t>Feb</a:t>
            </a:r>
            <a:r>
              <a:rPr lang="pt-BR" dirty="0"/>
              <a:t> 25;151(8):e41-e660. </a:t>
            </a:r>
            <a:r>
              <a:rPr lang="en-US" b="1" dirty="0"/>
              <a:t>2</a:t>
            </a:r>
            <a:r>
              <a:rPr lang="en-US" dirty="0"/>
              <a:t>. Frank DA, et al. Disparities in Guideline-Recommended Statin Use for Prevention of Atherosclerotic Cardiovascular Disease by Race, Ethnicity, and Gender: A Nationally Representative Cross-Sectional Analysis of Adults in the United States. Ann Intern Med. 2023 Jul 25;176(8):1057–1066 </a:t>
            </a:r>
            <a:r>
              <a:rPr lang="en-US" b="1" dirty="0"/>
              <a:t>3</a:t>
            </a:r>
            <a:r>
              <a:rPr lang="en-US" dirty="0"/>
              <a:t>. Jacobs JA, et al. Prevalence of Statin Use for Primary Prevention of Atherosclerotic Cardiovascular Disease by Race, Ethnicity, and 10-Year Disease Risk in the US. </a:t>
            </a:r>
            <a:r>
              <a:rPr lang="pt-BR" dirty="0"/>
              <a:t>JAMA </a:t>
            </a:r>
            <a:r>
              <a:rPr lang="pt-BR" dirty="0" err="1"/>
              <a:t>Cardiol</a:t>
            </a:r>
            <a:r>
              <a:rPr lang="pt-BR" dirty="0"/>
              <a:t>. 2023 Mar 22;8(5):443–452. </a:t>
            </a:r>
            <a:r>
              <a:rPr lang="en-US" b="1" dirty="0"/>
              <a:t>4</a:t>
            </a:r>
            <a:r>
              <a:rPr lang="en-US" dirty="0"/>
              <a:t>. </a:t>
            </a:r>
            <a:r>
              <a:rPr lang="en-US" dirty="0" err="1"/>
              <a:t>Sarraju</a:t>
            </a:r>
            <a:r>
              <a:rPr lang="en-US" dirty="0"/>
              <a:t> A, et al. Patterns and gaps in guideline-directed statin use for atherosclerotic cardiovascular disease by race and ethnicity. Am J Prev </a:t>
            </a:r>
            <a:r>
              <a:rPr lang="en-US" dirty="0" err="1"/>
              <a:t>Cardiol</a:t>
            </a:r>
            <a:r>
              <a:rPr lang="en-US" dirty="0"/>
              <a:t>. 2024 Mar 11;17:100647. </a:t>
            </a:r>
          </a:p>
        </p:txBody>
      </p:sp>
      <p:grpSp>
        <p:nvGrpSpPr>
          <p:cNvPr id="17" name="Grupo 16">
            <a:extLst>
              <a:ext uri="{FF2B5EF4-FFF2-40B4-BE49-F238E27FC236}">
                <a16:creationId xmlns:a16="http://schemas.microsoft.com/office/drawing/2014/main" id="{BAED7B7D-C23C-5C93-71CF-FB412150FBE0}"/>
              </a:ext>
            </a:extLst>
          </p:cNvPr>
          <p:cNvGrpSpPr/>
          <p:nvPr/>
        </p:nvGrpSpPr>
        <p:grpSpPr>
          <a:xfrm>
            <a:off x="960201" y="2236650"/>
            <a:ext cx="4971430" cy="2393668"/>
            <a:chOff x="1903716" y="1937766"/>
            <a:chExt cx="4942091" cy="2528734"/>
          </a:xfrm>
        </p:grpSpPr>
        <p:pic>
          <p:nvPicPr>
            <p:cNvPr id="18" name="Imagen 17">
              <a:extLst>
                <a:ext uri="{FF2B5EF4-FFF2-40B4-BE49-F238E27FC236}">
                  <a16:creationId xmlns:a16="http://schemas.microsoft.com/office/drawing/2014/main" id="{4DA94960-0A3B-35A4-5B41-8BE3D6FFA90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259" t="3232" r="3535" b="45048"/>
            <a:stretch/>
          </p:blipFill>
          <p:spPr>
            <a:xfrm>
              <a:off x="2660904" y="1937766"/>
              <a:ext cx="4184903" cy="2156597"/>
            </a:xfrm>
            <a:prstGeom prst="rect">
              <a:avLst/>
            </a:prstGeom>
          </p:spPr>
        </p:pic>
        <p:pic>
          <p:nvPicPr>
            <p:cNvPr id="19" name="Imagen 18">
              <a:extLst>
                <a:ext uri="{FF2B5EF4-FFF2-40B4-BE49-F238E27FC236}">
                  <a16:creationId xmlns:a16="http://schemas.microsoft.com/office/drawing/2014/main" id="{66D1B41E-AAA1-65A8-B0E4-ED3E2FF2E9B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3362"/>
            <a:stretch/>
          </p:blipFill>
          <p:spPr>
            <a:xfrm>
              <a:off x="1903716" y="2675926"/>
              <a:ext cx="891986" cy="1432996"/>
            </a:xfrm>
            <a:prstGeom prst="rect">
              <a:avLst/>
            </a:prstGeom>
          </p:spPr>
        </p:pic>
        <p:pic>
          <p:nvPicPr>
            <p:cNvPr id="20" name="Imagen 19">
              <a:extLst>
                <a:ext uri="{FF2B5EF4-FFF2-40B4-BE49-F238E27FC236}">
                  <a16:creationId xmlns:a16="http://schemas.microsoft.com/office/drawing/2014/main" id="{E7EA3FF2-491B-51E9-F576-62EB98DEFA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259" t="87420" r="3535" b="3655"/>
            <a:stretch/>
          </p:blipFill>
          <p:spPr>
            <a:xfrm>
              <a:off x="2660904" y="4094363"/>
              <a:ext cx="4184903" cy="372137"/>
            </a:xfrm>
            <a:prstGeom prst="rect">
              <a:avLst/>
            </a:prstGeom>
          </p:spPr>
        </p:pic>
      </p:grpSp>
      <p:sp>
        <p:nvSpPr>
          <p:cNvPr id="21" name="CuadroTexto 6">
            <a:extLst>
              <a:ext uri="{FF2B5EF4-FFF2-40B4-BE49-F238E27FC236}">
                <a16:creationId xmlns:a16="http://schemas.microsoft.com/office/drawing/2014/main" id="{49A5A01D-EB52-5854-0B30-65452422C1A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53465" y="1839500"/>
            <a:ext cx="418490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" altLang="es-ES" sz="1400" b="1" dirty="0">
                <a:solidFill>
                  <a:schemeClr val="tx1">
                    <a:lumMod val="50000"/>
                  </a:schemeClr>
                </a:solidFill>
              </a:rPr>
              <a:t>Uso de estatinas para prevención CV primaria</a:t>
            </a:r>
            <a:r>
              <a:rPr lang="es-ES" sz="1400" b="1" baseline="30000" dirty="0"/>
              <a:t>2</a:t>
            </a:r>
            <a:endParaRPr lang="es-ES" altLang="es-ES" sz="1400" b="1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" name="Título 1">
            <a:extLst>
              <a:ext uri="{FF2B5EF4-FFF2-40B4-BE49-F238E27FC236}">
                <a16:creationId xmlns:a16="http://schemas.microsoft.com/office/drawing/2014/main" id="{8B2F0857-9BBF-6AB8-B4D4-F8D4A0E6DA42}"/>
              </a:ext>
            </a:extLst>
          </p:cNvPr>
          <p:cNvSpPr txBox="1">
            <a:spLocks/>
          </p:cNvSpPr>
          <p:nvPr/>
        </p:nvSpPr>
        <p:spPr>
          <a:xfrm>
            <a:off x="394955" y="160786"/>
            <a:ext cx="11473957" cy="467219"/>
          </a:xfrm>
          <a:prstGeom prst="rect">
            <a:avLst/>
          </a:prstGeom>
          <a:solidFill>
            <a:schemeClr val="accent5"/>
          </a:solidFill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dirty="0"/>
              <a:t>Factores de riesgo cardiovascular y su manejo en raza negra:</a:t>
            </a:r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36BE8EB9-EB99-C549-7B41-D90881E68B81}"/>
              </a:ext>
            </a:extLst>
          </p:cNvPr>
          <p:cNvSpPr txBox="1">
            <a:spLocks/>
          </p:cNvSpPr>
          <p:nvPr/>
        </p:nvSpPr>
        <p:spPr>
          <a:xfrm>
            <a:off x="394955" y="628006"/>
            <a:ext cx="11473957" cy="51652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dirty="0"/>
              <a:t>Perfil lipídico: estatinas para prevención 1ª y 2ª en raza negra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BB724C30-5411-3BAD-8B69-AA81CD0BAF10}"/>
              </a:ext>
            </a:extLst>
          </p:cNvPr>
          <p:cNvSpPr txBox="1"/>
          <p:nvPr/>
        </p:nvSpPr>
        <p:spPr>
          <a:xfrm>
            <a:off x="6899074" y="5773096"/>
            <a:ext cx="4209747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dirty="0"/>
              <a:t>Am J Prev </a:t>
            </a:r>
            <a:r>
              <a:rPr lang="en-US" dirty="0" err="1"/>
              <a:t>Cardiol</a:t>
            </a:r>
            <a:r>
              <a:rPr lang="en-US" dirty="0"/>
              <a:t>. 2024 Mar 11;17:100647</a:t>
            </a:r>
            <a:endParaRPr lang="es-ES" dirty="0"/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F3912D67-CF35-49AE-30E9-F294DE929966}"/>
              </a:ext>
            </a:extLst>
          </p:cNvPr>
          <p:cNvSpPr txBox="1"/>
          <p:nvPr/>
        </p:nvSpPr>
        <p:spPr>
          <a:xfrm>
            <a:off x="1579469" y="4582783"/>
            <a:ext cx="4352162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sv-SE" dirty="0"/>
              <a:t>Ann Intern Med. 2023 Jul 25;176(8):1057–1066</a:t>
            </a:r>
            <a:endParaRPr lang="es-ES" dirty="0"/>
          </a:p>
        </p:txBody>
      </p:sp>
      <p:cxnSp>
        <p:nvCxnSpPr>
          <p:cNvPr id="2" name="Conector recto de flecha 1">
            <a:extLst>
              <a:ext uri="{FF2B5EF4-FFF2-40B4-BE49-F238E27FC236}">
                <a16:creationId xmlns:a16="http://schemas.microsoft.com/office/drawing/2014/main" id="{C492A6B7-AE9D-EC44-6484-36ABCE636B59}"/>
              </a:ext>
            </a:extLst>
          </p:cNvPr>
          <p:cNvCxnSpPr/>
          <p:nvPr/>
        </p:nvCxnSpPr>
        <p:spPr>
          <a:xfrm>
            <a:off x="645726" y="3823244"/>
            <a:ext cx="324000" cy="0"/>
          </a:xfrm>
          <a:prstGeom prst="straightConnector1">
            <a:avLst/>
          </a:prstGeom>
          <a:ln w="38100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ector recto de flecha 3">
            <a:extLst>
              <a:ext uri="{FF2B5EF4-FFF2-40B4-BE49-F238E27FC236}">
                <a16:creationId xmlns:a16="http://schemas.microsoft.com/office/drawing/2014/main" id="{F96F6A91-1A2A-ACE2-FB24-8C07C75539DB}"/>
              </a:ext>
            </a:extLst>
          </p:cNvPr>
          <p:cNvCxnSpPr/>
          <p:nvPr/>
        </p:nvCxnSpPr>
        <p:spPr>
          <a:xfrm>
            <a:off x="6737074" y="4232819"/>
            <a:ext cx="324000" cy="0"/>
          </a:xfrm>
          <a:prstGeom prst="straightConnector1">
            <a:avLst/>
          </a:prstGeom>
          <a:ln w="38100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uadroTexto 5">
            <a:extLst>
              <a:ext uri="{FF2B5EF4-FFF2-40B4-BE49-F238E27FC236}">
                <a16:creationId xmlns:a16="http://schemas.microsoft.com/office/drawing/2014/main" id="{9DAE7B4A-671D-F0F6-5851-E569F7E57CA3}"/>
              </a:ext>
            </a:extLst>
          </p:cNvPr>
          <p:cNvSpPr txBox="1"/>
          <p:nvPr/>
        </p:nvSpPr>
        <p:spPr>
          <a:xfrm>
            <a:off x="521084" y="1271082"/>
            <a:ext cx="11159927" cy="43088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accent3"/>
                </a:solidFill>
              </a:defRPr>
            </a:lvl1pPr>
          </a:lstStyle>
          <a:p>
            <a:r>
              <a:rPr lang="es-ES" sz="1400" dirty="0">
                <a:solidFill>
                  <a:schemeClr val="accent1"/>
                </a:solidFill>
              </a:rPr>
              <a:t>Aún así, en comparación con las personas blancas, el uso y los resultados obtenidos con tratamientos hipolipemiantes se mantuvieron subóptimos en personas de raza negra</a:t>
            </a:r>
            <a:r>
              <a:rPr lang="es-ES" sz="1400" baseline="30000" dirty="0">
                <a:solidFill>
                  <a:schemeClr val="accent1"/>
                </a:solidFill>
              </a:rPr>
              <a:t>2</a:t>
            </a:r>
            <a:r>
              <a:rPr lang="es-ES" sz="1400" dirty="0">
                <a:solidFill>
                  <a:schemeClr val="accent1"/>
                </a:solidFill>
              </a:rPr>
              <a:t>. 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9032BC49-57F7-FF7A-671A-F5597B3791A4}"/>
              </a:ext>
            </a:extLst>
          </p:cNvPr>
          <p:cNvSpPr txBox="1"/>
          <p:nvPr/>
        </p:nvSpPr>
        <p:spPr>
          <a:xfrm rot="16200000">
            <a:off x="10584462" y="3677419"/>
            <a:ext cx="25370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0</a:t>
            </a:r>
            <a:endParaRPr lang="es-ES" sz="12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8989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">
            <a:extLst>
              <a:ext uri="{FF2B5EF4-FFF2-40B4-BE49-F238E27FC236}">
                <a16:creationId xmlns:a16="http://schemas.microsoft.com/office/drawing/2014/main" id="{0D1F805B-780E-BBFF-88FA-580C70754CF9}"/>
              </a:ext>
            </a:extLst>
          </p:cNvPr>
          <p:cNvSpPr txBox="1">
            <a:spLocks/>
          </p:cNvSpPr>
          <p:nvPr/>
        </p:nvSpPr>
        <p:spPr>
          <a:xfrm>
            <a:off x="394955" y="160786"/>
            <a:ext cx="11473957" cy="467219"/>
          </a:xfrm>
          <a:prstGeom prst="rect">
            <a:avLst/>
          </a:prstGeom>
          <a:solidFill>
            <a:schemeClr val="accent5"/>
          </a:solidFill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dirty="0"/>
              <a:t>Factores de riesgo cardiovascular y su manejo en raza negra:</a:t>
            </a: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E7F073D6-5C14-14DE-6DFF-6BA89D02E043}"/>
              </a:ext>
            </a:extLst>
          </p:cNvPr>
          <p:cNvSpPr txBox="1">
            <a:spLocks/>
          </p:cNvSpPr>
          <p:nvPr/>
        </p:nvSpPr>
        <p:spPr>
          <a:xfrm>
            <a:off x="394955" y="628006"/>
            <a:ext cx="11473957" cy="51652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dirty="0"/>
              <a:t>Perfil lipídico: estatinas para prevención 1ª y 2ª en raza negra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5FAB6779-800D-C672-34EE-D04E45A6FC5A}"/>
              </a:ext>
            </a:extLst>
          </p:cNvPr>
          <p:cNvSpPr txBox="1"/>
          <p:nvPr/>
        </p:nvSpPr>
        <p:spPr>
          <a:xfrm>
            <a:off x="6395528" y="5945100"/>
            <a:ext cx="4584595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dirty="0"/>
              <a:t>2. </a:t>
            </a:r>
            <a:r>
              <a:rPr lang="en-US" b="0" dirty="0"/>
              <a:t>Turner BJ, et al. A Retrospective Cohort Study of the Potency of lipid-lowering therapy and Race-gender Differences in LDL cholesterol control. BMC Cardiovasc </a:t>
            </a:r>
            <a:r>
              <a:rPr lang="en-US" b="0" dirty="0" err="1"/>
              <a:t>Disord</a:t>
            </a:r>
            <a:r>
              <a:rPr lang="en-US" b="0" dirty="0"/>
              <a:t>. 2011 Sep 30:11:58.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3BC3A987-3C3B-E90D-0F6E-515762224E7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35175" y="1859769"/>
            <a:ext cx="4305300" cy="2885162"/>
          </a:xfrm>
          <a:prstGeom prst="rect">
            <a:avLst/>
          </a:prstGeom>
        </p:spPr>
      </p:pic>
      <p:sp>
        <p:nvSpPr>
          <p:cNvPr id="9" name="CuadroTexto 6">
            <a:extLst>
              <a:ext uri="{FF2B5EF4-FFF2-40B4-BE49-F238E27FC236}">
                <a16:creationId xmlns:a16="http://schemas.microsoft.com/office/drawing/2014/main" id="{AAE0622A-2C82-743D-9A59-7817D56C03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62775" y="1303225"/>
            <a:ext cx="378142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" altLang="es-ES" sz="1400" b="1" dirty="0">
                <a:solidFill>
                  <a:schemeClr val="tx1">
                    <a:lumMod val="50000"/>
                  </a:schemeClr>
                </a:solidFill>
              </a:rPr>
              <a:t>Tiempo hasta el control de LDL estratificado por potencia del tratamiento</a:t>
            </a:r>
            <a:r>
              <a:rPr lang="es-ES" altLang="es-ES" sz="1400" b="1" baseline="30000" dirty="0">
                <a:solidFill>
                  <a:schemeClr val="tx1">
                    <a:lumMod val="50000"/>
                  </a:schemeClr>
                </a:solidFill>
              </a:rPr>
              <a:t>2</a:t>
            </a:r>
            <a:endParaRPr lang="es-ES" altLang="es-ES" sz="1400" b="1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BAF95982-7367-9E4D-1BA1-632F7326CC9C}"/>
              </a:ext>
            </a:extLst>
          </p:cNvPr>
          <p:cNvSpPr txBox="1"/>
          <p:nvPr/>
        </p:nvSpPr>
        <p:spPr>
          <a:xfrm>
            <a:off x="6107574" y="5087955"/>
            <a:ext cx="5277601" cy="64633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ctr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as mujeres y hombres de raza negra, a pesar de recibir la terapia hipolipemiante de mayor potencia, tenían menos probabilidades de lograr el control del LDL que las mujeres y hombres blancos</a:t>
            </a:r>
            <a:r>
              <a:rPr lang="es-ES" baseline="30000" dirty="0"/>
              <a:t>2</a:t>
            </a:r>
            <a:r>
              <a:rPr lang="es-ES" dirty="0"/>
              <a:t>. </a:t>
            </a:r>
          </a:p>
        </p:txBody>
      </p:sp>
      <p:grpSp>
        <p:nvGrpSpPr>
          <p:cNvPr id="17" name="Grupo 16">
            <a:extLst>
              <a:ext uri="{FF2B5EF4-FFF2-40B4-BE49-F238E27FC236}">
                <a16:creationId xmlns:a16="http://schemas.microsoft.com/office/drawing/2014/main" id="{9DF54687-B1C2-3E12-27C5-20FDBDCA1D65}"/>
              </a:ext>
            </a:extLst>
          </p:cNvPr>
          <p:cNvGrpSpPr/>
          <p:nvPr/>
        </p:nvGrpSpPr>
        <p:grpSpPr>
          <a:xfrm>
            <a:off x="1912476" y="1759771"/>
            <a:ext cx="2714626" cy="2964972"/>
            <a:chOff x="5529236" y="2333625"/>
            <a:chExt cx="3960682" cy="4095884"/>
          </a:xfrm>
        </p:grpSpPr>
        <p:pic>
          <p:nvPicPr>
            <p:cNvPr id="13" name="Imagen 12">
              <a:extLst>
                <a:ext uri="{FF2B5EF4-FFF2-40B4-BE49-F238E27FC236}">
                  <a16:creationId xmlns:a16="http://schemas.microsoft.com/office/drawing/2014/main" id="{B6125EA1-4554-379B-DBA2-4301C10E684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635" r="14654" b="7565"/>
            <a:stretch/>
          </p:blipFill>
          <p:spPr>
            <a:xfrm>
              <a:off x="6200775" y="2333625"/>
              <a:ext cx="3289143" cy="3724275"/>
            </a:xfrm>
            <a:prstGeom prst="rect">
              <a:avLst/>
            </a:prstGeom>
          </p:spPr>
        </p:pic>
        <p:pic>
          <p:nvPicPr>
            <p:cNvPr id="14" name="Imagen 13">
              <a:extLst>
                <a:ext uri="{FF2B5EF4-FFF2-40B4-BE49-F238E27FC236}">
                  <a16:creationId xmlns:a16="http://schemas.microsoft.com/office/drawing/2014/main" id="{A797C8FE-78C8-4219-BDAC-07455559236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1226"/>
            <a:stretch/>
          </p:blipFill>
          <p:spPr>
            <a:xfrm>
              <a:off x="5529236" y="2387591"/>
              <a:ext cx="671540" cy="3489334"/>
            </a:xfrm>
            <a:prstGeom prst="rect">
              <a:avLst/>
            </a:prstGeom>
          </p:spPr>
        </p:pic>
        <p:pic>
          <p:nvPicPr>
            <p:cNvPr id="15" name="Imagen 14">
              <a:extLst>
                <a:ext uri="{FF2B5EF4-FFF2-40B4-BE49-F238E27FC236}">
                  <a16:creationId xmlns:a16="http://schemas.microsoft.com/office/drawing/2014/main" id="{427329CA-7174-0C68-F10E-5F02B946F4D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200775" y="6062797"/>
              <a:ext cx="3105150" cy="366712"/>
            </a:xfrm>
            <a:prstGeom prst="rect">
              <a:avLst/>
            </a:prstGeom>
          </p:spPr>
        </p:pic>
      </p:grpSp>
      <p:sp>
        <p:nvSpPr>
          <p:cNvPr id="16" name="CuadroTexto 6">
            <a:extLst>
              <a:ext uri="{FF2B5EF4-FFF2-40B4-BE49-F238E27FC236}">
                <a16:creationId xmlns:a16="http://schemas.microsoft.com/office/drawing/2014/main" id="{1336F792-885F-7645-DEA1-0C0830A2C45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17651" y="1236550"/>
            <a:ext cx="430427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" altLang="es-ES" sz="1400" b="1" dirty="0">
                <a:solidFill>
                  <a:schemeClr val="tx1">
                    <a:lumMod val="50000"/>
                  </a:schemeClr>
                </a:solidFill>
              </a:rPr>
              <a:t>Tratamiento con la intensidad de estatinas recomendada por las guías</a:t>
            </a:r>
            <a:r>
              <a:rPr lang="es-ES" altLang="es-ES" sz="1400" b="1" baseline="30000" dirty="0">
                <a:solidFill>
                  <a:schemeClr val="tx1">
                    <a:lumMod val="50000"/>
                  </a:schemeClr>
                </a:solidFill>
              </a:rPr>
              <a:t>1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73B9B31C-A24C-D888-5AC8-24C8F47F0E23}"/>
              </a:ext>
            </a:extLst>
          </p:cNvPr>
          <p:cNvSpPr txBox="1"/>
          <p:nvPr/>
        </p:nvSpPr>
        <p:spPr>
          <a:xfrm>
            <a:off x="888538" y="5945100"/>
            <a:ext cx="4762503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dirty="0"/>
              <a:t>1. </a:t>
            </a:r>
            <a:r>
              <a:rPr lang="en-US" b="0" dirty="0"/>
              <a:t>Nanna MG, et al, Association of Patient Perceptions of Cardiovascular Risk and Beliefs on Statin Drugs With Racial Differences in Statin Use: Insights From the Patient and Provider Assessment of Lipid Management Registry. JAMA </a:t>
            </a:r>
            <a:r>
              <a:rPr lang="en-US" b="0" dirty="0" err="1"/>
              <a:t>Cardiol</a:t>
            </a:r>
            <a:r>
              <a:rPr lang="en-US" b="0" dirty="0"/>
              <a:t>. 2018 Aug 1;3(8):739-748. 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AC05DBDD-9A5D-AD62-2A52-DBE61DDD6C37}"/>
              </a:ext>
            </a:extLst>
          </p:cNvPr>
          <p:cNvSpPr txBox="1"/>
          <p:nvPr/>
        </p:nvSpPr>
        <p:spPr>
          <a:xfrm>
            <a:off x="885981" y="5087955"/>
            <a:ext cx="4767617" cy="64633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ctr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os afroamericanos tenían menos probabilidades de recibir el tratamiento con estatinas recomendado por las directrices y tenía niveles más altos de LDL-C durante el tratamiento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4EA1627C-3574-D73E-9371-295CF7B65971}"/>
              </a:ext>
            </a:extLst>
          </p:cNvPr>
          <p:cNvSpPr txBox="1"/>
          <p:nvPr/>
        </p:nvSpPr>
        <p:spPr>
          <a:xfrm>
            <a:off x="2142611" y="4642368"/>
            <a:ext cx="2254357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pt-BR" dirty="0"/>
              <a:t>JAMA </a:t>
            </a:r>
            <a:r>
              <a:rPr lang="pt-BR" dirty="0" err="1"/>
              <a:t>Cardiol</a:t>
            </a:r>
            <a:r>
              <a:rPr lang="pt-BR" dirty="0"/>
              <a:t>. 2018 </a:t>
            </a:r>
            <a:r>
              <a:rPr lang="pt-BR" dirty="0" err="1"/>
              <a:t>Aug</a:t>
            </a:r>
            <a:r>
              <a:rPr lang="pt-BR" dirty="0"/>
              <a:t> 1;3(8):739-748</a:t>
            </a:r>
            <a:endParaRPr lang="es-ES" dirty="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E32D47A3-B009-7D65-598C-FEA5D058BD85}"/>
              </a:ext>
            </a:extLst>
          </p:cNvPr>
          <p:cNvSpPr txBox="1"/>
          <p:nvPr/>
        </p:nvSpPr>
        <p:spPr>
          <a:xfrm>
            <a:off x="6830450" y="4642368"/>
            <a:ext cx="3714751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BMC </a:t>
            </a:r>
            <a:r>
              <a:rPr lang="es-ES" dirty="0" err="1"/>
              <a:t>Cardiovasc</a:t>
            </a:r>
            <a:r>
              <a:rPr lang="es-ES" dirty="0"/>
              <a:t> </a:t>
            </a:r>
            <a:r>
              <a:rPr lang="es-ES" dirty="0" err="1"/>
              <a:t>Disord</a:t>
            </a:r>
            <a:r>
              <a:rPr lang="es-ES" dirty="0"/>
              <a:t>. 2011 </a:t>
            </a:r>
            <a:r>
              <a:rPr lang="es-ES" dirty="0" err="1"/>
              <a:t>Sep</a:t>
            </a:r>
            <a:r>
              <a:rPr lang="es-ES" dirty="0"/>
              <a:t> 30:11:58.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5687D124-84BE-18A6-5AE2-6B4EF89AC118}"/>
              </a:ext>
            </a:extLst>
          </p:cNvPr>
          <p:cNvSpPr txBox="1"/>
          <p:nvPr/>
        </p:nvSpPr>
        <p:spPr>
          <a:xfrm rot="16200000">
            <a:off x="10584462" y="3686384"/>
            <a:ext cx="25370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0</a:t>
            </a:r>
            <a:endParaRPr lang="es-ES" sz="12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2413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uadroTexto 7">
            <a:extLst>
              <a:ext uri="{FF2B5EF4-FFF2-40B4-BE49-F238E27FC236}">
                <a16:creationId xmlns:a16="http://schemas.microsoft.com/office/drawing/2014/main" id="{940DF2A4-C3EE-AE6B-99E2-2456EB1598B4}"/>
              </a:ext>
            </a:extLst>
          </p:cNvPr>
          <p:cNvSpPr txBox="1"/>
          <p:nvPr/>
        </p:nvSpPr>
        <p:spPr>
          <a:xfrm>
            <a:off x="1033679" y="6076070"/>
            <a:ext cx="10196507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dirty="0"/>
              <a:t>1. </a:t>
            </a:r>
            <a:r>
              <a:rPr lang="en-US" b="0" dirty="0"/>
              <a:t>Albert MA, et al. Race, ethnicity, and the efficacy of rosuvastatin in primary prevention: the Justification for the Use of Statins in Prevention: an Intervention Trial Evaluating Rosuvastatin (JUPITER) trial. Am Heart J. 2011 Jul;162(1):106-14.e2. </a:t>
            </a:r>
            <a:r>
              <a:rPr lang="es-ES" dirty="0"/>
              <a:t>2. </a:t>
            </a:r>
            <a:r>
              <a:rPr lang="es-ES" b="0" dirty="0"/>
              <a:t>Neal RC, et al. </a:t>
            </a:r>
            <a:r>
              <a:rPr lang="es-ES" b="0" dirty="0" err="1"/>
              <a:t>Relationship</a:t>
            </a:r>
            <a:r>
              <a:rPr lang="es-ES" b="0" dirty="0"/>
              <a:t> </a:t>
            </a:r>
            <a:r>
              <a:rPr lang="es-ES" b="0" dirty="0" err="1"/>
              <a:t>of</a:t>
            </a:r>
            <a:r>
              <a:rPr lang="es-ES" b="0" dirty="0"/>
              <a:t> </a:t>
            </a:r>
            <a:r>
              <a:rPr lang="es-ES" b="0" dirty="0" err="1"/>
              <a:t>ethnic</a:t>
            </a:r>
            <a:r>
              <a:rPr lang="es-ES" b="0" dirty="0"/>
              <a:t> </a:t>
            </a:r>
            <a:r>
              <a:rPr lang="es-ES" b="0" dirty="0" err="1"/>
              <a:t>origin</a:t>
            </a:r>
            <a:r>
              <a:rPr lang="es-ES" b="0" dirty="0"/>
              <a:t>, </a:t>
            </a:r>
            <a:r>
              <a:rPr lang="es-ES" b="0" dirty="0" err="1"/>
              <a:t>gender</a:t>
            </a:r>
            <a:r>
              <a:rPr lang="es-ES" b="0" dirty="0"/>
              <a:t>, and </a:t>
            </a:r>
            <a:r>
              <a:rPr lang="es-ES" b="0" dirty="0" err="1"/>
              <a:t>age</a:t>
            </a:r>
            <a:r>
              <a:rPr lang="es-ES" b="0" dirty="0"/>
              <a:t> </a:t>
            </a:r>
            <a:r>
              <a:rPr lang="es-ES" b="0" dirty="0" err="1"/>
              <a:t>to</a:t>
            </a:r>
            <a:r>
              <a:rPr lang="es-ES" b="0" dirty="0"/>
              <a:t> </a:t>
            </a:r>
            <a:r>
              <a:rPr lang="es-ES" b="0" dirty="0" err="1"/>
              <a:t>blood</a:t>
            </a:r>
            <a:r>
              <a:rPr lang="es-ES" b="0" dirty="0"/>
              <a:t> </a:t>
            </a:r>
            <a:r>
              <a:rPr lang="es-ES" b="0" dirty="0" err="1"/>
              <a:t>creatine</a:t>
            </a:r>
            <a:r>
              <a:rPr lang="es-ES" b="0" dirty="0"/>
              <a:t> </a:t>
            </a:r>
            <a:r>
              <a:rPr lang="es-ES" b="0" dirty="0" err="1"/>
              <a:t>kinase</a:t>
            </a:r>
            <a:r>
              <a:rPr lang="es-ES" b="0" dirty="0"/>
              <a:t> </a:t>
            </a:r>
            <a:r>
              <a:rPr lang="es-ES" b="0" dirty="0" err="1"/>
              <a:t>levels</a:t>
            </a:r>
            <a:r>
              <a:rPr lang="es-ES" b="0" dirty="0"/>
              <a:t>. Am J </a:t>
            </a:r>
            <a:r>
              <a:rPr lang="es-ES" b="0" dirty="0" err="1"/>
              <a:t>Med</a:t>
            </a:r>
            <a:r>
              <a:rPr lang="es-ES" b="0" dirty="0"/>
              <a:t>. 2009 Jan;122(1):73-8.</a:t>
            </a:r>
            <a:r>
              <a:rPr lang="es-ES" dirty="0"/>
              <a:t> </a:t>
            </a:r>
            <a:r>
              <a:rPr lang="en-US" dirty="0"/>
              <a:t>3. </a:t>
            </a:r>
            <a:r>
              <a:rPr lang="en-US" b="0" dirty="0"/>
              <a:t>Kalra DK, Bridging the Racial Disparity Gap in Lipid‐Lowering Therapy. Vol 10, Issue 1, 5 Jan 2021. </a:t>
            </a:r>
            <a:r>
              <a:rPr lang="en-US" dirty="0"/>
              <a:t>4</a:t>
            </a:r>
            <a:r>
              <a:rPr lang="en-US" b="0" dirty="0"/>
              <a:t>. Hippisley-Cox J, et al. </a:t>
            </a:r>
            <a:r>
              <a:rPr lang="en-US" b="0" dirty="0" err="1"/>
              <a:t>Individualising</a:t>
            </a:r>
            <a:r>
              <a:rPr lang="en-US" b="0" dirty="0"/>
              <a:t> the risks of statins in men and women in England and Wales: population-based cohort study. Heart. 2010 Jun;96(12):939-47. 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B3CEC9CF-0853-D29B-A6AF-9589BF3F9FFD}"/>
              </a:ext>
            </a:extLst>
          </p:cNvPr>
          <p:cNvSpPr txBox="1"/>
          <p:nvPr/>
        </p:nvSpPr>
        <p:spPr>
          <a:xfrm>
            <a:off x="890307" y="4953560"/>
            <a:ext cx="4958043" cy="86177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as personas de raza negra tienen niveles basales más elevados de creatinina quinasa</a:t>
            </a:r>
            <a:r>
              <a:rPr lang="es-ES" baseline="30000" dirty="0"/>
              <a:t>2</a:t>
            </a:r>
            <a:r>
              <a:rPr lang="es-ES" dirty="0"/>
              <a:t>, y algunas personas negras se les etiqueta erróneamente como intolerantes a las estatinas por ello, aunque no suele denotar miopatía</a:t>
            </a:r>
            <a:r>
              <a:rPr lang="es-ES" baseline="30000" dirty="0"/>
              <a:t>3</a:t>
            </a:r>
            <a:r>
              <a:rPr lang="es-ES" dirty="0"/>
              <a:t>.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F28B9221-4ECE-263A-753C-89ADC6ED1BFC}"/>
              </a:ext>
            </a:extLst>
          </p:cNvPr>
          <p:cNvSpPr txBox="1"/>
          <p:nvPr/>
        </p:nvSpPr>
        <p:spPr>
          <a:xfrm>
            <a:off x="809625" y="1410158"/>
            <a:ext cx="5038725" cy="86177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l estudio JUPITER que evalúa la rosuvastatina, demostró que la eficacia frente a las variables </a:t>
            </a:r>
            <a:r>
              <a:rPr lang="es-ES" dirty="0" err="1"/>
              <a:t>CVs</a:t>
            </a:r>
            <a:r>
              <a:rPr lang="es-ES" dirty="0"/>
              <a:t> se conserva en las diferentes razas; y que el grado de riesgo del paciente es lo que determina el beneficio de las estatinas, no la etnia o el sexo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18" name="Título 1">
            <a:extLst>
              <a:ext uri="{FF2B5EF4-FFF2-40B4-BE49-F238E27FC236}">
                <a16:creationId xmlns:a16="http://schemas.microsoft.com/office/drawing/2014/main" id="{DAEFDF72-250A-BA32-129C-C52E447AE9D1}"/>
              </a:ext>
            </a:extLst>
          </p:cNvPr>
          <p:cNvSpPr txBox="1">
            <a:spLocks/>
          </p:cNvSpPr>
          <p:nvPr/>
        </p:nvSpPr>
        <p:spPr>
          <a:xfrm>
            <a:off x="394955" y="160786"/>
            <a:ext cx="11473957" cy="467219"/>
          </a:xfrm>
          <a:prstGeom prst="rect">
            <a:avLst/>
          </a:prstGeom>
          <a:solidFill>
            <a:schemeClr val="accent5"/>
          </a:solidFill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dirty="0"/>
              <a:t>Factores de riesgo cardiovascular y su manejo en raza negra:</a:t>
            </a:r>
          </a:p>
        </p:txBody>
      </p:sp>
      <p:sp>
        <p:nvSpPr>
          <p:cNvPr id="19" name="Título 1">
            <a:extLst>
              <a:ext uri="{FF2B5EF4-FFF2-40B4-BE49-F238E27FC236}">
                <a16:creationId xmlns:a16="http://schemas.microsoft.com/office/drawing/2014/main" id="{6FC29ED1-A76B-C322-61E7-05B28C060663}"/>
              </a:ext>
            </a:extLst>
          </p:cNvPr>
          <p:cNvSpPr txBox="1">
            <a:spLocks/>
          </p:cNvSpPr>
          <p:nvPr/>
        </p:nvSpPr>
        <p:spPr>
          <a:xfrm>
            <a:off x="394955" y="628006"/>
            <a:ext cx="11473957" cy="51652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dirty="0"/>
              <a:t>Perfil lipídico: eficacia de las estatinas y efectos adversos</a:t>
            </a:r>
          </a:p>
        </p:txBody>
      </p:sp>
      <p:pic>
        <p:nvPicPr>
          <p:cNvPr id="21" name="Imagen 20">
            <a:extLst>
              <a:ext uri="{FF2B5EF4-FFF2-40B4-BE49-F238E27FC236}">
                <a16:creationId xmlns:a16="http://schemas.microsoft.com/office/drawing/2014/main" id="{91D7F8D4-9F0A-A893-A69E-AA92A90A20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6782" y="2563020"/>
            <a:ext cx="3876524" cy="1807832"/>
          </a:xfrm>
          <a:prstGeom prst="rect">
            <a:avLst/>
          </a:prstGeom>
        </p:spPr>
      </p:pic>
      <p:sp>
        <p:nvSpPr>
          <p:cNvPr id="23" name="CuadroTexto 22">
            <a:extLst>
              <a:ext uri="{FF2B5EF4-FFF2-40B4-BE49-F238E27FC236}">
                <a16:creationId xmlns:a16="http://schemas.microsoft.com/office/drawing/2014/main" id="{A4758649-9466-D1BA-7414-D5F2F078876D}"/>
              </a:ext>
            </a:extLst>
          </p:cNvPr>
          <p:cNvSpPr txBox="1"/>
          <p:nvPr/>
        </p:nvSpPr>
        <p:spPr>
          <a:xfrm>
            <a:off x="1677207" y="4427050"/>
            <a:ext cx="3495675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Am J </a:t>
            </a:r>
            <a:r>
              <a:rPr lang="es-ES" dirty="0" err="1"/>
              <a:t>Med</a:t>
            </a:r>
            <a:r>
              <a:rPr lang="es-ES" dirty="0"/>
              <a:t>. 2009 Jan;122(1):73-8</a:t>
            </a: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6D588EA5-5361-719B-F4BE-DE15F6EC42C1}"/>
              </a:ext>
            </a:extLst>
          </p:cNvPr>
          <p:cNvSpPr txBox="1"/>
          <p:nvPr/>
        </p:nvSpPr>
        <p:spPr>
          <a:xfrm>
            <a:off x="6548718" y="1410158"/>
            <a:ext cx="5057775" cy="86177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Igualmente, en la puntuación de riesgo de </a:t>
            </a:r>
            <a:r>
              <a:rPr lang="es-ES" dirty="0" err="1"/>
              <a:t>Qstatin</a:t>
            </a:r>
            <a:r>
              <a:rPr lang="es-ES" dirty="0"/>
              <a:t>, el riesgo de miopatía asociada a las estatinas fue significativamente mayor en el grupo del África negra (HR: 4 para mujeres y 7 para los hombres en comparación con los europeos blancos)</a:t>
            </a:r>
            <a:r>
              <a:rPr lang="es-ES" baseline="30000" dirty="0"/>
              <a:t>4</a:t>
            </a:r>
            <a:r>
              <a:rPr lang="es-ES" dirty="0"/>
              <a:t>.</a:t>
            </a:r>
          </a:p>
        </p:txBody>
      </p:sp>
      <p:grpSp>
        <p:nvGrpSpPr>
          <p:cNvPr id="36" name="Grupo 35">
            <a:extLst>
              <a:ext uri="{FF2B5EF4-FFF2-40B4-BE49-F238E27FC236}">
                <a16:creationId xmlns:a16="http://schemas.microsoft.com/office/drawing/2014/main" id="{EB9414A4-F14D-D795-674F-027EC31B7A7F}"/>
              </a:ext>
            </a:extLst>
          </p:cNvPr>
          <p:cNvGrpSpPr/>
          <p:nvPr/>
        </p:nvGrpSpPr>
        <p:grpSpPr>
          <a:xfrm>
            <a:off x="6708754" y="2531532"/>
            <a:ext cx="4077146" cy="3037658"/>
            <a:chOff x="1218754" y="3114903"/>
            <a:chExt cx="4077146" cy="3037658"/>
          </a:xfrm>
        </p:grpSpPr>
        <p:pic>
          <p:nvPicPr>
            <p:cNvPr id="27" name="Imagen 26">
              <a:extLst>
                <a:ext uri="{FF2B5EF4-FFF2-40B4-BE49-F238E27FC236}">
                  <a16:creationId xmlns:a16="http://schemas.microsoft.com/office/drawing/2014/main" id="{5D610AFA-361D-060D-3294-E3DE058E9B2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14179" y="3114903"/>
              <a:ext cx="3781721" cy="2778111"/>
            </a:xfrm>
            <a:prstGeom prst="rect">
              <a:avLst/>
            </a:prstGeom>
          </p:spPr>
        </p:pic>
        <p:cxnSp>
          <p:nvCxnSpPr>
            <p:cNvPr id="33" name="Conector recto de flecha 32">
              <a:extLst>
                <a:ext uri="{FF2B5EF4-FFF2-40B4-BE49-F238E27FC236}">
                  <a16:creationId xmlns:a16="http://schemas.microsoft.com/office/drawing/2014/main" id="{5255A9F8-FFBF-41EA-FBF1-F8A5972BACFA}"/>
                </a:ext>
              </a:extLst>
            </p:cNvPr>
            <p:cNvCxnSpPr/>
            <p:nvPr/>
          </p:nvCxnSpPr>
          <p:spPr>
            <a:xfrm>
              <a:off x="1218754" y="5457825"/>
              <a:ext cx="324000" cy="0"/>
            </a:xfrm>
            <a:prstGeom prst="straightConnector1">
              <a:avLst/>
            </a:prstGeom>
            <a:ln w="38100">
              <a:solidFill>
                <a:schemeClr val="accent5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CuadroTexto 34">
              <a:extLst>
                <a:ext uri="{FF2B5EF4-FFF2-40B4-BE49-F238E27FC236}">
                  <a16:creationId xmlns:a16="http://schemas.microsoft.com/office/drawing/2014/main" id="{00649886-A37B-6564-CB9B-F141C7D7FE91}"/>
                </a:ext>
              </a:extLst>
            </p:cNvPr>
            <p:cNvSpPr txBox="1"/>
            <p:nvPr/>
          </p:nvSpPr>
          <p:spPr>
            <a:xfrm>
              <a:off x="2133600" y="5937117"/>
              <a:ext cx="2257425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>
              <a:defPPr>
                <a:defRPr lang="es-ES"/>
              </a:defPPr>
              <a:lvl1pPr algn="ctr">
                <a:defRPr sz="800" b="1" i="1">
                  <a:solidFill>
                    <a:schemeClr val="accent1"/>
                  </a:solidFill>
                  <a:effectLst/>
                </a:defRPr>
              </a:lvl1pPr>
            </a:lstStyle>
            <a:p>
              <a:r>
                <a:rPr lang="en-US" dirty="0"/>
                <a:t>Heart. 2010 Jun;96(12):939-47</a:t>
              </a:r>
              <a:endParaRPr lang="es-ES" dirty="0"/>
            </a:p>
          </p:txBody>
        </p:sp>
      </p:grpSp>
      <p:cxnSp>
        <p:nvCxnSpPr>
          <p:cNvPr id="2" name="Conector recto de flecha 1">
            <a:extLst>
              <a:ext uri="{FF2B5EF4-FFF2-40B4-BE49-F238E27FC236}">
                <a16:creationId xmlns:a16="http://schemas.microsoft.com/office/drawing/2014/main" id="{4717C4D9-265D-9BD8-37EA-9349FD3BBD62}"/>
              </a:ext>
            </a:extLst>
          </p:cNvPr>
          <p:cNvCxnSpPr/>
          <p:nvPr/>
        </p:nvCxnSpPr>
        <p:spPr>
          <a:xfrm>
            <a:off x="1162782" y="3473547"/>
            <a:ext cx="324000" cy="0"/>
          </a:xfrm>
          <a:prstGeom prst="straightConnector1">
            <a:avLst/>
          </a:prstGeom>
          <a:ln w="38100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uadroTexto 2">
            <a:extLst>
              <a:ext uri="{FF2B5EF4-FFF2-40B4-BE49-F238E27FC236}">
                <a16:creationId xmlns:a16="http://schemas.microsoft.com/office/drawing/2014/main" id="{09A03994-3115-50AF-7717-B4EF820F362F}"/>
              </a:ext>
            </a:extLst>
          </p:cNvPr>
          <p:cNvSpPr txBox="1"/>
          <p:nvPr/>
        </p:nvSpPr>
        <p:spPr>
          <a:xfrm rot="16200000">
            <a:off x="10584462" y="3677419"/>
            <a:ext cx="25370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0</a:t>
            </a:r>
            <a:endParaRPr lang="es-ES" sz="12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0221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97E6AE-B6C8-832D-21FB-568503A687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">
            <a:extLst>
              <a:ext uri="{FF2B5EF4-FFF2-40B4-BE49-F238E27FC236}">
                <a16:creationId xmlns:a16="http://schemas.microsoft.com/office/drawing/2014/main" id="{FABBA3CB-BC3F-0E65-30A3-9FB541E9F4CC}"/>
              </a:ext>
            </a:extLst>
          </p:cNvPr>
          <p:cNvSpPr txBox="1">
            <a:spLocks/>
          </p:cNvSpPr>
          <p:nvPr/>
        </p:nvSpPr>
        <p:spPr>
          <a:xfrm>
            <a:off x="394955" y="160786"/>
            <a:ext cx="11473957" cy="467219"/>
          </a:xfrm>
          <a:prstGeom prst="rect">
            <a:avLst/>
          </a:prstGeom>
          <a:solidFill>
            <a:schemeClr val="accent5"/>
          </a:solidFill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dirty="0"/>
              <a:t>Factores de riesgo cardiovascular y su manejo en raza negra:</a:t>
            </a: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E65EBD0E-5822-6CC3-43F8-19F02FE81DC3}"/>
              </a:ext>
            </a:extLst>
          </p:cNvPr>
          <p:cNvSpPr txBox="1">
            <a:spLocks/>
          </p:cNvSpPr>
          <p:nvPr/>
        </p:nvSpPr>
        <p:spPr>
          <a:xfrm>
            <a:off x="394955" y="628006"/>
            <a:ext cx="11473957" cy="51652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dirty="0"/>
              <a:t>Perfil lipídico: otros factores importantes para tener en cuenta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2386946A-C203-76E4-1F39-400C9322C89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5852" r="15456" b="23560"/>
          <a:stretch/>
        </p:blipFill>
        <p:spPr>
          <a:xfrm>
            <a:off x="1003669" y="1761438"/>
            <a:ext cx="4258768" cy="239146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1BB853B7-240B-9412-517A-4A76AD37A8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1213" y="1468247"/>
            <a:ext cx="432368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" altLang="es-ES" sz="1400" b="1" dirty="0">
                <a:solidFill>
                  <a:schemeClr val="tx1">
                    <a:lumMod val="50000"/>
                  </a:schemeClr>
                </a:solidFill>
              </a:rPr>
              <a:t>Niveles de PCSK9 por etnia, género y grupo de edad</a:t>
            </a:r>
            <a:r>
              <a:rPr lang="es-ES" altLang="es-ES" sz="1400" b="1" baseline="30000" dirty="0">
                <a:solidFill>
                  <a:schemeClr val="tx1">
                    <a:lumMod val="50000"/>
                  </a:schemeClr>
                </a:solidFill>
              </a:rPr>
              <a:t>1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32A2AEC8-A21D-B908-AE04-DB8D8A25B4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1213" y="4237942"/>
            <a:ext cx="432368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" altLang="es-ES" sz="1200" b="1" dirty="0">
                <a:solidFill>
                  <a:schemeClr val="tx1">
                    <a:lumMod val="50000"/>
                  </a:schemeClr>
                </a:solidFill>
              </a:rPr>
              <a:t>AA: </a:t>
            </a:r>
            <a:r>
              <a:rPr lang="es-ES" altLang="es-ES" sz="1200" b="1" dirty="0" err="1">
                <a:solidFill>
                  <a:schemeClr val="tx1">
                    <a:lumMod val="50000"/>
                  </a:schemeClr>
                </a:solidFill>
              </a:rPr>
              <a:t>African</a:t>
            </a:r>
            <a:r>
              <a:rPr lang="es-ES" altLang="es-ES" sz="1200" b="1" dirty="0">
                <a:solidFill>
                  <a:schemeClr val="tx1">
                    <a:lumMod val="50000"/>
                  </a:schemeClr>
                </a:solidFill>
              </a:rPr>
              <a:t> American	CA: </a:t>
            </a:r>
            <a:r>
              <a:rPr lang="es-ES" altLang="es-ES" sz="1200" b="1" dirty="0" err="1">
                <a:solidFill>
                  <a:schemeClr val="tx1">
                    <a:lumMod val="50000"/>
                  </a:schemeClr>
                </a:solidFill>
              </a:rPr>
              <a:t>Caucasians</a:t>
            </a:r>
            <a:endParaRPr lang="es-ES" altLang="es-ES" sz="1200" b="1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3A6EC1D6-BE07-5E78-7205-41D32E70720C}"/>
              </a:ext>
            </a:extLst>
          </p:cNvPr>
          <p:cNvSpPr txBox="1"/>
          <p:nvPr/>
        </p:nvSpPr>
        <p:spPr>
          <a:xfrm>
            <a:off x="798405" y="5919438"/>
            <a:ext cx="4669296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. </a:t>
            </a:r>
            <a:r>
              <a:rPr lang="es-ES" b="0" dirty="0" err="1"/>
              <a:t>Enkhmaa</a:t>
            </a:r>
            <a:r>
              <a:rPr lang="es-ES" b="0" dirty="0"/>
              <a:t> B, et al. PCSK9 in </a:t>
            </a:r>
            <a:r>
              <a:rPr lang="es-ES" b="0" dirty="0" err="1"/>
              <a:t>African</a:t>
            </a:r>
            <a:r>
              <a:rPr lang="es-ES" b="0" dirty="0"/>
              <a:t> </a:t>
            </a:r>
            <a:r>
              <a:rPr lang="es-ES" b="0" dirty="0" err="1"/>
              <a:t>Americans</a:t>
            </a:r>
            <a:r>
              <a:rPr lang="es-ES" b="0" dirty="0"/>
              <a:t> and </a:t>
            </a:r>
            <a:r>
              <a:rPr lang="es-ES" b="0" dirty="0" err="1"/>
              <a:t>Caucasians</a:t>
            </a:r>
            <a:r>
              <a:rPr lang="es-ES" b="0" dirty="0"/>
              <a:t> in </a:t>
            </a:r>
            <a:r>
              <a:rPr lang="es-ES" b="0" dirty="0" err="1"/>
              <a:t>Relation</a:t>
            </a:r>
            <a:r>
              <a:rPr lang="es-ES" b="0" dirty="0"/>
              <a:t> </a:t>
            </a:r>
            <a:r>
              <a:rPr lang="es-ES" b="0" dirty="0" err="1"/>
              <a:t>to</a:t>
            </a:r>
            <a:r>
              <a:rPr lang="es-ES" b="0" dirty="0"/>
              <a:t> </a:t>
            </a:r>
            <a:r>
              <a:rPr lang="es-ES" b="0" dirty="0" err="1"/>
              <a:t>Lp</a:t>
            </a:r>
            <a:r>
              <a:rPr lang="es-ES" b="0" dirty="0"/>
              <a:t>(a) </a:t>
            </a:r>
            <a:r>
              <a:rPr lang="es-ES" b="0" dirty="0" err="1"/>
              <a:t>Level</a:t>
            </a:r>
            <a:r>
              <a:rPr lang="es-ES" b="0" dirty="0"/>
              <a:t>, </a:t>
            </a:r>
            <a:r>
              <a:rPr lang="es-ES" b="0" dirty="0" err="1"/>
              <a:t>Apo</a:t>
            </a:r>
            <a:r>
              <a:rPr lang="es-ES" b="0" dirty="0"/>
              <a:t>(a) </a:t>
            </a:r>
            <a:r>
              <a:rPr lang="es-ES" b="0" dirty="0" err="1"/>
              <a:t>Size</a:t>
            </a:r>
            <a:r>
              <a:rPr lang="es-ES" b="0" dirty="0"/>
              <a:t> and </a:t>
            </a:r>
            <a:r>
              <a:rPr lang="es-ES" b="0" dirty="0" err="1"/>
              <a:t>Heritability</a:t>
            </a:r>
            <a:r>
              <a:rPr lang="es-ES" b="0" dirty="0"/>
              <a:t>. J </a:t>
            </a:r>
            <a:r>
              <a:rPr lang="es-ES" b="0" dirty="0" err="1"/>
              <a:t>Endocr</a:t>
            </a:r>
            <a:r>
              <a:rPr lang="es-ES" b="0" dirty="0"/>
              <a:t> Soc. 2020 Jun 11;4(7):bvaa073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A3D57EF4-9F33-A22C-0F63-C70D2CF8B534}"/>
              </a:ext>
            </a:extLst>
          </p:cNvPr>
          <p:cNvSpPr txBox="1"/>
          <p:nvPr/>
        </p:nvSpPr>
        <p:spPr>
          <a:xfrm>
            <a:off x="798405" y="4838658"/>
            <a:ext cx="4669296" cy="861774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ctr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os niveles plasmáticos de PCSK9 (proteína que regula el metabolismo de colesterol) son significativamente más altos en afroamericanos vs caucásicos, en mujeres vs hombres y en adultos vs niños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30CE2DFC-D8C5-8B64-A6D7-8D020911770C}"/>
              </a:ext>
            </a:extLst>
          </p:cNvPr>
          <p:cNvSpPr txBox="1"/>
          <p:nvPr/>
        </p:nvSpPr>
        <p:spPr>
          <a:xfrm>
            <a:off x="6486182" y="5919437"/>
            <a:ext cx="4743450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dirty="0"/>
              <a:t>2. </a:t>
            </a:r>
            <a:r>
              <a:rPr lang="en-US" b="0" dirty="0"/>
              <a:t>Harada PH, et al. Familial hypercholesterolemia prevalence in an admixed racial society: Sex and race matter. The ELSA-</a:t>
            </a:r>
            <a:r>
              <a:rPr lang="en-US" b="0" dirty="0" err="1"/>
              <a:t>Brasil</a:t>
            </a:r>
            <a:r>
              <a:rPr lang="en-US" b="0" dirty="0"/>
              <a:t>. Atherosclerosis. 2018 Oct:277:273-277.</a:t>
            </a:r>
            <a:endParaRPr lang="en-US" dirty="0"/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C3D47CB9-BAA1-A712-F7EC-623FA570D197}"/>
              </a:ext>
            </a:extLst>
          </p:cNvPr>
          <p:cNvSpPr txBox="1"/>
          <p:nvPr/>
        </p:nvSpPr>
        <p:spPr>
          <a:xfrm>
            <a:off x="6186144" y="4876665"/>
            <a:ext cx="5343525" cy="861774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ctr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n un estudio en </a:t>
            </a:r>
            <a:r>
              <a:rPr lang="es-ES" dirty="0" err="1"/>
              <a:t>Brazil</a:t>
            </a:r>
            <a:r>
              <a:rPr lang="es-ES" dirty="0"/>
              <a:t> (ELSA-Brasil), se demostró un aumento más grande de la prevalencia del hipercolesterolemia familiar en personas de raza negra (1:156) que en blancos y morenos y         (1: 204 y 1:156, respectivamente)</a:t>
            </a:r>
            <a:r>
              <a:rPr lang="es-ES" baseline="30000" dirty="0"/>
              <a:t>2</a:t>
            </a:r>
            <a:r>
              <a:rPr lang="es-ES" dirty="0"/>
              <a:t>.</a:t>
            </a:r>
          </a:p>
        </p:txBody>
      </p:sp>
      <p:pic>
        <p:nvPicPr>
          <p:cNvPr id="27" name="Imagen 26">
            <a:extLst>
              <a:ext uri="{FF2B5EF4-FFF2-40B4-BE49-F238E27FC236}">
                <a16:creationId xmlns:a16="http://schemas.microsoft.com/office/drawing/2014/main" id="{9DF141CD-539B-3CE4-E56A-645077F4196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2421"/>
          <a:stretch/>
        </p:blipFill>
        <p:spPr>
          <a:xfrm>
            <a:off x="6264940" y="2057807"/>
            <a:ext cx="4943812" cy="2514704"/>
          </a:xfrm>
          <a:prstGeom prst="rect">
            <a:avLst/>
          </a:prstGeom>
        </p:spPr>
      </p:pic>
      <p:sp>
        <p:nvSpPr>
          <p:cNvPr id="28" name="CuadroTexto 27">
            <a:extLst>
              <a:ext uri="{FF2B5EF4-FFF2-40B4-BE49-F238E27FC236}">
                <a16:creationId xmlns:a16="http://schemas.microsoft.com/office/drawing/2014/main" id="{00C752BE-5533-7121-7F55-8CF05FE321A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86144" y="1423228"/>
            <a:ext cx="4943812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" altLang="es-ES" sz="1400" b="1" dirty="0" err="1">
                <a:solidFill>
                  <a:schemeClr val="tx1">
                    <a:lumMod val="50000"/>
                  </a:schemeClr>
                </a:solidFill>
              </a:rPr>
              <a:t>Odds</a:t>
            </a:r>
            <a:r>
              <a:rPr lang="es-ES" altLang="es-ES" sz="1400" b="1" dirty="0">
                <a:solidFill>
                  <a:schemeClr val="tx1">
                    <a:lumMod val="50000"/>
                  </a:schemeClr>
                </a:solidFill>
              </a:rPr>
              <a:t> ratio ajustado por edad, sexo y raza/etnia y prevalencia ponderada del hipercolesterolemia familiar</a:t>
            </a:r>
            <a:r>
              <a:rPr lang="es-ES" altLang="es-ES" sz="1400" b="1" baseline="30000" dirty="0">
                <a:solidFill>
                  <a:schemeClr val="tx1">
                    <a:lumMod val="50000"/>
                  </a:schemeClr>
                </a:solidFill>
              </a:rPr>
              <a:t>2</a:t>
            </a:r>
            <a:endParaRPr lang="es-ES" altLang="es-ES" sz="1400" b="1" dirty="0">
              <a:solidFill>
                <a:schemeClr val="tx1">
                  <a:lumMod val="50000"/>
                </a:schemeClr>
              </a:solidFill>
            </a:endParaRPr>
          </a:p>
        </p:txBody>
      </p:sp>
      <p:cxnSp>
        <p:nvCxnSpPr>
          <p:cNvPr id="2" name="Conector recto de flecha 1">
            <a:extLst>
              <a:ext uri="{FF2B5EF4-FFF2-40B4-BE49-F238E27FC236}">
                <a16:creationId xmlns:a16="http://schemas.microsoft.com/office/drawing/2014/main" id="{08E40253-1974-558B-D449-059427A71813}"/>
              </a:ext>
            </a:extLst>
          </p:cNvPr>
          <p:cNvCxnSpPr/>
          <p:nvPr/>
        </p:nvCxnSpPr>
        <p:spPr>
          <a:xfrm>
            <a:off x="6102940" y="4362450"/>
            <a:ext cx="324000" cy="0"/>
          </a:xfrm>
          <a:prstGeom prst="straightConnector1">
            <a:avLst/>
          </a:prstGeom>
          <a:ln w="38100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uadroTexto 5">
            <a:extLst>
              <a:ext uri="{FF2B5EF4-FFF2-40B4-BE49-F238E27FC236}">
                <a16:creationId xmlns:a16="http://schemas.microsoft.com/office/drawing/2014/main" id="{7A007EFA-A3B3-286A-3D35-8F773FCC953F}"/>
              </a:ext>
            </a:extLst>
          </p:cNvPr>
          <p:cNvSpPr txBox="1"/>
          <p:nvPr/>
        </p:nvSpPr>
        <p:spPr>
          <a:xfrm rot="16200000">
            <a:off x="10584462" y="3677419"/>
            <a:ext cx="25370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0</a:t>
            </a:r>
            <a:endParaRPr lang="es-ES" sz="12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6679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">
            <a:extLst>
              <a:ext uri="{FF2B5EF4-FFF2-40B4-BE49-F238E27FC236}">
                <a16:creationId xmlns:a16="http://schemas.microsoft.com/office/drawing/2014/main" id="{42439F59-11AE-20EB-B36E-FF8F9D9F21C3}"/>
              </a:ext>
            </a:extLst>
          </p:cNvPr>
          <p:cNvSpPr txBox="1">
            <a:spLocks/>
          </p:cNvSpPr>
          <p:nvPr/>
        </p:nvSpPr>
        <p:spPr>
          <a:xfrm>
            <a:off x="394955" y="160786"/>
            <a:ext cx="11473957" cy="46721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dirty="0"/>
              <a:t>Factores de riesgo cardiovascular y su manejo en raza negra: </a:t>
            </a: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CA090ACB-678C-EBA3-1D95-5BF6E1762274}"/>
              </a:ext>
            </a:extLst>
          </p:cNvPr>
          <p:cNvSpPr txBox="1">
            <a:spLocks/>
          </p:cNvSpPr>
          <p:nvPr/>
        </p:nvSpPr>
        <p:spPr>
          <a:xfrm>
            <a:off x="394955" y="628006"/>
            <a:ext cx="11473957" cy="516524"/>
          </a:xfrm>
          <a:prstGeom prst="rect">
            <a:avLst/>
          </a:prstGeom>
          <a:solidFill>
            <a:srgbClr val="F0D5FF"/>
          </a:solidFill>
        </p:spPr>
        <p:txBody>
          <a:bodyPr vert="horz" lIns="0" tIns="0" rIns="0" bIns="0" rtlCol="0" anchor="ctr">
            <a:normAutofit/>
          </a:bodyPr>
          <a:lstStyle>
            <a:defPPr>
              <a:defRPr lang="es-ES"/>
            </a:defPPr>
            <a:lvl1pPr marR="0" indent="0" defTabSz="91433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/>
              <a:t>Presión arterial elevada e hipertensión arterial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1AA0D587-0A31-8224-C902-8B4591B53890}"/>
              </a:ext>
            </a:extLst>
          </p:cNvPr>
          <p:cNvSpPr txBox="1"/>
          <p:nvPr/>
        </p:nvSpPr>
        <p:spPr>
          <a:xfrm>
            <a:off x="892438" y="1628745"/>
            <a:ext cx="5790825" cy="43088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a hipertensión arterial es uno de los factores de riesgo CV modificables más significativos</a:t>
            </a:r>
            <a:r>
              <a:rPr lang="es-ES" baseline="30000" dirty="0"/>
              <a:t>1</a:t>
            </a:r>
            <a:r>
              <a:rPr lang="es-ES" dirty="0"/>
              <a:t>. 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EFCFD588-43C4-97BC-7272-128881782D4C}"/>
              </a:ext>
            </a:extLst>
          </p:cNvPr>
          <p:cNvSpPr txBox="1"/>
          <p:nvPr/>
        </p:nvSpPr>
        <p:spPr>
          <a:xfrm>
            <a:off x="870005" y="4113074"/>
            <a:ext cx="5754632" cy="64633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s probable que la hipertensión afecte al árbol arterial mediante el engrosamiento de las paredes arteriales, el desarrollo de placas ateroscleróticas y su vulnerabilidad a la ruptura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E16CD691-B72B-972A-4AA0-41E58872A8FE}"/>
              </a:ext>
            </a:extLst>
          </p:cNvPr>
          <p:cNvSpPr txBox="1"/>
          <p:nvPr/>
        </p:nvSpPr>
        <p:spPr>
          <a:xfrm>
            <a:off x="1733551" y="5885321"/>
            <a:ext cx="866775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b="1" dirty="0"/>
              <a:t>1</a:t>
            </a:r>
            <a:r>
              <a:rPr lang="es-ES" dirty="0"/>
              <a:t>. </a:t>
            </a:r>
            <a:r>
              <a:rPr lang="es-ES" dirty="0" err="1"/>
              <a:t>Poznyak</a:t>
            </a:r>
            <a:r>
              <a:rPr lang="es-ES" dirty="0"/>
              <a:t> AV, et al. </a:t>
            </a:r>
            <a:r>
              <a:rPr lang="es-ES" dirty="0" err="1"/>
              <a:t>Hypertension</a:t>
            </a:r>
            <a:r>
              <a:rPr lang="es-ES" dirty="0"/>
              <a:t> as a </a:t>
            </a:r>
            <a:r>
              <a:rPr lang="es-ES" dirty="0" err="1"/>
              <a:t>risk</a:t>
            </a:r>
            <a:r>
              <a:rPr lang="es-ES" dirty="0"/>
              <a:t> factor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atherosclerosis</a:t>
            </a:r>
            <a:r>
              <a:rPr lang="es-ES" dirty="0"/>
              <a:t>: Cardiovascular </a:t>
            </a:r>
            <a:r>
              <a:rPr lang="es-ES" dirty="0" err="1"/>
              <a:t>risk</a:t>
            </a:r>
            <a:r>
              <a:rPr lang="es-ES" dirty="0"/>
              <a:t> </a:t>
            </a:r>
            <a:r>
              <a:rPr lang="es-ES" dirty="0" err="1"/>
              <a:t>assessment</a:t>
            </a:r>
            <a:r>
              <a:rPr lang="es-ES" dirty="0"/>
              <a:t>. Front </a:t>
            </a:r>
            <a:r>
              <a:rPr lang="es-ES" dirty="0" err="1"/>
              <a:t>Cardiovasc</a:t>
            </a:r>
            <a:r>
              <a:rPr lang="es-ES" dirty="0"/>
              <a:t> </a:t>
            </a:r>
            <a:r>
              <a:rPr lang="es-ES" dirty="0" err="1"/>
              <a:t>Med</a:t>
            </a:r>
            <a:r>
              <a:rPr lang="es-ES" dirty="0"/>
              <a:t>. 2022 </a:t>
            </a:r>
            <a:r>
              <a:rPr lang="es-ES" dirty="0" err="1"/>
              <a:t>Aug</a:t>
            </a:r>
            <a:r>
              <a:rPr lang="es-ES" dirty="0"/>
              <a:t> 22:9:959285. </a:t>
            </a:r>
            <a:r>
              <a:rPr lang="es-ES" b="1" dirty="0"/>
              <a:t>2</a:t>
            </a:r>
            <a:r>
              <a:rPr lang="es-ES" dirty="0"/>
              <a:t>. </a:t>
            </a:r>
            <a:r>
              <a:rPr lang="en-US" dirty="0"/>
              <a:t>McEvoy JW, et al. 2024 ESC Guidelines for the management of elevated blood pressure and </a:t>
            </a:r>
            <a:r>
              <a:rPr lang="en-US" dirty="0" err="1"/>
              <a:t>hypertension.Eur</a:t>
            </a:r>
            <a:r>
              <a:rPr lang="en-US" dirty="0"/>
              <a:t> Heart J. 2024 Oct 7;45(38):3912-4018. </a:t>
            </a:r>
            <a:r>
              <a:rPr lang="es-ES" b="1" dirty="0"/>
              <a:t>3</a:t>
            </a:r>
            <a:r>
              <a:rPr lang="es-ES" dirty="0"/>
              <a:t>. Malik R, et al. </a:t>
            </a:r>
            <a:r>
              <a:rPr lang="es-ES" dirty="0" err="1"/>
              <a:t>Relationship</a:t>
            </a:r>
            <a:r>
              <a:rPr lang="es-ES" dirty="0"/>
              <a:t> Between </a:t>
            </a:r>
            <a:r>
              <a:rPr lang="es-ES" dirty="0" err="1"/>
              <a:t>Blood</a:t>
            </a:r>
            <a:r>
              <a:rPr lang="es-ES" dirty="0"/>
              <a:t> </a:t>
            </a:r>
            <a:r>
              <a:rPr lang="es-ES" dirty="0" err="1"/>
              <a:t>Pressure</a:t>
            </a:r>
            <a:r>
              <a:rPr lang="es-ES" dirty="0"/>
              <a:t> and </a:t>
            </a:r>
            <a:r>
              <a:rPr lang="es-ES" dirty="0" err="1"/>
              <a:t>Incident</a:t>
            </a:r>
            <a:r>
              <a:rPr lang="es-ES" dirty="0"/>
              <a:t> Cardiovascular </a:t>
            </a:r>
            <a:r>
              <a:rPr lang="es-ES" dirty="0" err="1"/>
              <a:t>Disease</a:t>
            </a:r>
            <a:r>
              <a:rPr lang="es-ES" dirty="0"/>
              <a:t>: Linear and </a:t>
            </a:r>
            <a:r>
              <a:rPr lang="es-ES" dirty="0" err="1"/>
              <a:t>Nonlinear</a:t>
            </a:r>
            <a:r>
              <a:rPr lang="es-ES" dirty="0"/>
              <a:t> </a:t>
            </a:r>
            <a:r>
              <a:rPr lang="es-ES" dirty="0" err="1"/>
              <a:t>Mendelian</a:t>
            </a:r>
            <a:r>
              <a:rPr lang="es-ES" dirty="0"/>
              <a:t> </a:t>
            </a:r>
            <a:r>
              <a:rPr lang="es-ES" dirty="0" err="1"/>
              <a:t>Randomization</a:t>
            </a:r>
            <a:r>
              <a:rPr lang="es-ES" dirty="0"/>
              <a:t> </a:t>
            </a:r>
            <a:r>
              <a:rPr lang="es-ES" dirty="0" err="1"/>
              <a:t>Analyses</a:t>
            </a:r>
            <a:r>
              <a:rPr lang="es-ES" dirty="0"/>
              <a:t>. </a:t>
            </a:r>
            <a:r>
              <a:rPr lang="es-ES" dirty="0" err="1"/>
              <a:t>Hypertension</a:t>
            </a:r>
            <a:r>
              <a:rPr lang="es-ES" dirty="0"/>
              <a:t>. 2021 Jun;77(6):2004-2013.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F0701F1F-0DE1-6F3D-9E2E-3C1CE533DA4F}"/>
              </a:ext>
            </a:extLst>
          </p:cNvPr>
          <p:cNvSpPr txBox="1"/>
          <p:nvPr/>
        </p:nvSpPr>
        <p:spPr>
          <a:xfrm>
            <a:off x="870005" y="5101919"/>
            <a:ext cx="6260837" cy="215444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a asociación entre La PA y los eventos cardiovasculares es lineal</a:t>
            </a:r>
            <a:r>
              <a:rPr lang="es-ES" baseline="30000" dirty="0"/>
              <a:t>3</a:t>
            </a:r>
            <a:r>
              <a:rPr lang="es-ES" dirty="0"/>
              <a:t>.</a:t>
            </a: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4BF26E3F-1F89-028A-8F83-37134FEF614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23422"/>
          <a:stretch/>
        </p:blipFill>
        <p:spPr>
          <a:xfrm>
            <a:off x="7296113" y="2586037"/>
            <a:ext cx="4181512" cy="2701768"/>
          </a:xfrm>
          <a:prstGeom prst="rect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</p:pic>
      <p:sp>
        <p:nvSpPr>
          <p:cNvPr id="21" name="CuadroTexto 20">
            <a:extLst>
              <a:ext uri="{FF2B5EF4-FFF2-40B4-BE49-F238E27FC236}">
                <a16:creationId xmlns:a16="http://schemas.microsoft.com/office/drawing/2014/main" id="{02BB89FC-E998-CCF7-11CE-6F1C85B43E17}"/>
              </a:ext>
            </a:extLst>
          </p:cNvPr>
          <p:cNvSpPr txBox="1"/>
          <p:nvPr/>
        </p:nvSpPr>
        <p:spPr>
          <a:xfrm>
            <a:off x="892438" y="2401698"/>
            <a:ext cx="5790825" cy="1292662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accent1"/>
                </a:solidFill>
              </a:defRPr>
            </a:lvl1pPr>
          </a:lstStyle>
          <a:p>
            <a:r>
              <a:rPr lang="es-ES" sz="1400" dirty="0"/>
              <a:t>La Guía ESC 2024 para el manejo de la presión arterial elevada y la hipertensión, define:</a:t>
            </a:r>
          </a:p>
          <a:p>
            <a:endParaRPr lang="es-ES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sz="1400" dirty="0"/>
              <a:t>La “hipertensión” como PAS ≥140 </a:t>
            </a:r>
            <a:r>
              <a:rPr lang="es-ES" sz="1400" dirty="0" err="1"/>
              <a:t>mmHg</a:t>
            </a:r>
            <a:r>
              <a:rPr lang="es-ES" sz="1400" dirty="0"/>
              <a:t> o PAD ≥90 mmHg</a:t>
            </a:r>
            <a:r>
              <a:rPr lang="es-ES" sz="1400" baseline="30000" dirty="0"/>
              <a:t>2</a:t>
            </a:r>
            <a:endParaRPr lang="es-ES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sz="1400" dirty="0"/>
              <a:t>La “PA elevada” como PAS 120-139 </a:t>
            </a:r>
            <a:r>
              <a:rPr lang="es-ES" sz="1400" dirty="0" err="1"/>
              <a:t>mmHg</a:t>
            </a:r>
            <a:r>
              <a:rPr lang="es-ES" sz="1400" dirty="0"/>
              <a:t> o PAD 70-89 mmHg</a:t>
            </a:r>
            <a:r>
              <a:rPr lang="es-ES" sz="1400" baseline="30000" dirty="0"/>
              <a:t>2</a:t>
            </a:r>
            <a:endParaRPr lang="es-ES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sz="1400" dirty="0"/>
              <a:t>La “PA no elevada” como PAS &lt;120 </a:t>
            </a:r>
            <a:r>
              <a:rPr lang="es-ES" sz="1400" dirty="0" err="1"/>
              <a:t>mmHg</a:t>
            </a:r>
            <a:r>
              <a:rPr lang="es-ES" sz="1400" dirty="0"/>
              <a:t> y PAD  &lt;70 mmHg</a:t>
            </a:r>
            <a:r>
              <a:rPr lang="es-ES" sz="1400" baseline="30000" dirty="0"/>
              <a:t>2</a:t>
            </a:r>
            <a:r>
              <a:rPr lang="es-ES" sz="1400" dirty="0"/>
              <a:t> 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8EF99B43-F7BD-4CB6-E8B6-CBA3AC4E1A74}"/>
              </a:ext>
            </a:extLst>
          </p:cNvPr>
          <p:cNvSpPr txBox="1"/>
          <p:nvPr/>
        </p:nvSpPr>
        <p:spPr>
          <a:xfrm>
            <a:off x="7968026" y="5365257"/>
            <a:ext cx="3117587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7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b="1" dirty="0" err="1"/>
              <a:t>Hypertension</a:t>
            </a:r>
            <a:r>
              <a:rPr lang="es-ES" b="1" dirty="0"/>
              <a:t>. 2021 Jun;77(6):2004-2013.</a:t>
            </a: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647C43E5-ACCE-BBE4-6EC6-DC722B88622D}"/>
              </a:ext>
            </a:extLst>
          </p:cNvPr>
          <p:cNvSpPr txBox="1"/>
          <p:nvPr/>
        </p:nvSpPr>
        <p:spPr>
          <a:xfrm>
            <a:off x="7406411" y="1554479"/>
            <a:ext cx="418151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400" b="1" i="0" u="none" strike="noStrike" baseline="0">
                <a:solidFill>
                  <a:srgbClr val="000000"/>
                </a:solidFill>
                <a:latin typeface="Akzidenz Grotesk BE Bold"/>
              </a:defRPr>
            </a:lvl1pPr>
          </a:lstStyle>
          <a:p>
            <a:r>
              <a:rPr lang="es-ES" dirty="0"/>
              <a:t>La relación entre la presión arterial y el riesgo de enfermedad cardiovascular incidente en individuos sin enfermedad cardiovascular existente o uso de medicamentos antihipertensivos</a:t>
            </a:r>
            <a:r>
              <a:rPr lang="es-ES" baseline="30000" dirty="0"/>
              <a:t>3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F67943CA-D2B3-E66E-3A45-922AD5548549}"/>
              </a:ext>
            </a:extLst>
          </p:cNvPr>
          <p:cNvSpPr txBox="1"/>
          <p:nvPr/>
        </p:nvSpPr>
        <p:spPr>
          <a:xfrm rot="16200000">
            <a:off x="10584462" y="3677419"/>
            <a:ext cx="25370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0</a:t>
            </a:r>
            <a:endParaRPr lang="es-ES" sz="12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6039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6480B60E-54EF-9B1D-C5AF-D5E8BDF5A6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76093" y="2313077"/>
            <a:ext cx="4216616" cy="2772486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C8E89300-84E2-F921-1B3B-8C81587A2CDE}"/>
              </a:ext>
            </a:extLst>
          </p:cNvPr>
          <p:cNvSpPr txBox="1"/>
          <p:nvPr/>
        </p:nvSpPr>
        <p:spPr>
          <a:xfrm>
            <a:off x="6381750" y="1648404"/>
            <a:ext cx="517208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b="1" i="0" u="none" strike="noStrike" baseline="0" dirty="0">
                <a:solidFill>
                  <a:srgbClr val="000000"/>
                </a:solidFill>
                <a:latin typeface="Akzidenz Grotesk BE Bold"/>
              </a:rPr>
              <a:t>Tendencias de prevalencia ajustadas por edad para la HT en adultos </a:t>
            </a:r>
            <a:r>
              <a:rPr lang="es-ES" sz="1400" b="1" i="0" u="none" strike="noStrike" baseline="0" dirty="0" err="1">
                <a:solidFill>
                  <a:srgbClr val="000000"/>
                </a:solidFill>
                <a:latin typeface="Akzidenz Grotesk BE Bold"/>
              </a:rPr>
              <a:t>EE.UUs</a:t>
            </a:r>
            <a:r>
              <a:rPr lang="es-ES" sz="1400" b="1" i="0" u="none" strike="noStrike" baseline="0" dirty="0">
                <a:solidFill>
                  <a:srgbClr val="000000"/>
                </a:solidFill>
                <a:latin typeface="Akzidenz Grotesk BE Bold"/>
              </a:rPr>
              <a:t>  ≥20 años de edad, por raza, sexo y año de encuesta</a:t>
            </a:r>
            <a:r>
              <a:rPr lang="es-ES" sz="1400" baseline="30000" dirty="0">
                <a:solidFill>
                  <a:schemeClr val="accent1"/>
                </a:solidFill>
              </a:rPr>
              <a:t>1</a:t>
            </a:r>
            <a:endParaRPr lang="es-ES" sz="1400" b="1" dirty="0"/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3153F7E4-7208-CBAD-D4AF-E39437006171}"/>
              </a:ext>
            </a:extLst>
          </p:cNvPr>
          <p:cNvSpPr txBox="1"/>
          <p:nvPr/>
        </p:nvSpPr>
        <p:spPr>
          <a:xfrm>
            <a:off x="1717095" y="5796101"/>
            <a:ext cx="8829676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b="1" dirty="0"/>
              <a:t>1.</a:t>
            </a:r>
            <a:r>
              <a:rPr lang="en-US" dirty="0"/>
              <a:t> Martin SS, et al. 2025 Heart Disease and Stroke Statistics: A Report of US and Global Data From the American Heart Association. </a:t>
            </a:r>
            <a:r>
              <a:rPr lang="pt-BR" dirty="0" err="1"/>
              <a:t>Circulation</a:t>
            </a:r>
            <a:r>
              <a:rPr lang="pt-BR" dirty="0"/>
              <a:t>. 2025 </a:t>
            </a:r>
            <a:r>
              <a:rPr lang="pt-BR" dirty="0" err="1"/>
              <a:t>Feb</a:t>
            </a:r>
            <a:r>
              <a:rPr lang="pt-BR" dirty="0"/>
              <a:t> 25;151(8):e41-e660. </a:t>
            </a:r>
            <a:r>
              <a:rPr lang="pt-BR" b="1" dirty="0"/>
              <a:t>2</a:t>
            </a:r>
            <a:r>
              <a:rPr lang="pt-BR" dirty="0"/>
              <a:t>. </a:t>
            </a:r>
            <a:r>
              <a:rPr lang="pt-BR" dirty="0" err="1"/>
              <a:t>Muntner</a:t>
            </a:r>
            <a:r>
              <a:rPr lang="pt-BR" dirty="0"/>
              <a:t> P, et al. </a:t>
            </a:r>
            <a:r>
              <a:rPr lang="pt-BR" dirty="0" err="1"/>
              <a:t>Hypertension</a:t>
            </a:r>
            <a:r>
              <a:rPr lang="pt-BR" dirty="0"/>
              <a:t> in Blacks: </a:t>
            </a:r>
            <a:r>
              <a:rPr lang="pt-BR" dirty="0" err="1"/>
              <a:t>Unanswered</a:t>
            </a:r>
            <a:r>
              <a:rPr lang="pt-BR" dirty="0"/>
              <a:t> </a:t>
            </a:r>
            <a:r>
              <a:rPr lang="pt-BR" dirty="0" err="1"/>
              <a:t>Questions</a:t>
            </a:r>
            <a:r>
              <a:rPr lang="pt-BR" dirty="0"/>
              <a:t> </a:t>
            </a:r>
            <a:r>
              <a:rPr lang="pt-BR" dirty="0" err="1"/>
              <a:t>and</a:t>
            </a:r>
            <a:r>
              <a:rPr lang="pt-BR" dirty="0"/>
              <a:t> Future </a:t>
            </a:r>
            <a:r>
              <a:rPr lang="pt-BR" dirty="0" err="1"/>
              <a:t>Directions</a:t>
            </a:r>
            <a:r>
              <a:rPr lang="pt-BR" dirty="0"/>
              <a:t> for </a:t>
            </a:r>
            <a:r>
              <a:rPr lang="pt-BR" dirty="0" err="1"/>
              <a:t>the</a:t>
            </a:r>
            <a:r>
              <a:rPr lang="pt-BR" dirty="0"/>
              <a:t> JHS (Jackson Heart </a:t>
            </a:r>
            <a:r>
              <a:rPr lang="pt-BR" dirty="0" err="1"/>
              <a:t>Study</a:t>
            </a:r>
            <a:r>
              <a:rPr lang="pt-BR" dirty="0"/>
              <a:t>). </a:t>
            </a:r>
            <a:r>
              <a:rPr lang="pt-BR" dirty="0" err="1"/>
              <a:t>Hypertension</a:t>
            </a:r>
            <a:r>
              <a:rPr lang="pt-BR" dirty="0"/>
              <a:t>. 2017 May;69(5):761-769. </a:t>
            </a:r>
            <a:r>
              <a:rPr lang="en-US" b="1" dirty="0"/>
              <a:t>3</a:t>
            </a:r>
            <a:r>
              <a:rPr lang="en-US" dirty="0"/>
              <a:t>. McEvoy JW, et al. 2024 ESC Guidelines for the management of elevated blood pressure and hypertension. European Heart Journal (2024) 00, 1–107 </a:t>
            </a:r>
            <a:r>
              <a:rPr lang="en-US" b="1" dirty="0"/>
              <a:t>4</a:t>
            </a:r>
            <a:r>
              <a:rPr lang="en-US" dirty="0"/>
              <a:t>. Ingabire PM, et al. High prevalence of non-dipping patterns among Black Africans with uncontrolled hypertension: a secondary analysis of the CREOLE trial. BMC Cardiovasc </a:t>
            </a:r>
            <a:r>
              <a:rPr lang="en-US" dirty="0" err="1"/>
              <a:t>Disord</a:t>
            </a:r>
            <a:r>
              <a:rPr lang="en-US" dirty="0"/>
              <a:t>. 2021 May 22;21(1):254. </a:t>
            </a:r>
            <a:endParaRPr lang="pt-BR" dirty="0"/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1EE9F21F-43B0-713F-1B0A-7B6B41EDE5D1}"/>
              </a:ext>
            </a:extLst>
          </p:cNvPr>
          <p:cNvSpPr txBox="1"/>
          <p:nvPr/>
        </p:nvSpPr>
        <p:spPr>
          <a:xfrm>
            <a:off x="595037" y="1663456"/>
            <a:ext cx="5500962" cy="646331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accent3"/>
                </a:solidFill>
              </a:defRPr>
            </a:lvl1pPr>
          </a:lstStyle>
          <a:p>
            <a:r>
              <a:rPr lang="es-ES" sz="1400" dirty="0">
                <a:solidFill>
                  <a:schemeClr val="accent1"/>
                </a:solidFill>
              </a:rPr>
              <a:t>La prevalencia de la hipertensión en las personas de raza negra se encuentra entre las más altas del mundo</a:t>
            </a:r>
            <a:r>
              <a:rPr lang="es-ES" sz="1400" baseline="30000" dirty="0">
                <a:solidFill>
                  <a:schemeClr val="accent1"/>
                </a:solidFill>
              </a:rPr>
              <a:t>1,2</a:t>
            </a:r>
            <a:r>
              <a:rPr lang="es-ES" sz="1400" dirty="0">
                <a:solidFill>
                  <a:schemeClr val="accent1"/>
                </a:solidFill>
              </a:rPr>
              <a:t>. La prevalencia ajustada por edad es del 55,8% y 56,9% en hombres y mujeres</a:t>
            </a:r>
            <a:r>
              <a:rPr lang="es-ES" sz="1400" baseline="30000" dirty="0">
                <a:solidFill>
                  <a:schemeClr val="accent1"/>
                </a:solidFill>
              </a:rPr>
              <a:t>1</a:t>
            </a:r>
            <a:r>
              <a:rPr lang="es-ES" sz="1400" dirty="0">
                <a:solidFill>
                  <a:schemeClr val="accent1"/>
                </a:solidFill>
              </a:rPr>
              <a:t>.</a:t>
            </a:r>
          </a:p>
        </p:txBody>
      </p:sp>
      <p:sp>
        <p:nvSpPr>
          <p:cNvPr id="18" name="Título 1">
            <a:extLst>
              <a:ext uri="{FF2B5EF4-FFF2-40B4-BE49-F238E27FC236}">
                <a16:creationId xmlns:a16="http://schemas.microsoft.com/office/drawing/2014/main" id="{9BF6AECB-F8F6-7F3A-3C3B-8672B7DD09F7}"/>
              </a:ext>
            </a:extLst>
          </p:cNvPr>
          <p:cNvSpPr txBox="1">
            <a:spLocks/>
          </p:cNvSpPr>
          <p:nvPr/>
        </p:nvSpPr>
        <p:spPr>
          <a:xfrm>
            <a:off x="394955" y="160786"/>
            <a:ext cx="11473957" cy="46721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dirty="0"/>
              <a:t>Factores de riesgo cardiovascular y su manejo en raza negra:</a:t>
            </a:r>
          </a:p>
        </p:txBody>
      </p:sp>
      <p:sp>
        <p:nvSpPr>
          <p:cNvPr id="19" name="Título 1">
            <a:extLst>
              <a:ext uri="{FF2B5EF4-FFF2-40B4-BE49-F238E27FC236}">
                <a16:creationId xmlns:a16="http://schemas.microsoft.com/office/drawing/2014/main" id="{FCC46212-CC5D-B70F-1B85-7D242DE62231}"/>
              </a:ext>
            </a:extLst>
          </p:cNvPr>
          <p:cNvSpPr txBox="1">
            <a:spLocks/>
          </p:cNvSpPr>
          <p:nvPr/>
        </p:nvSpPr>
        <p:spPr>
          <a:xfrm>
            <a:off x="394955" y="628006"/>
            <a:ext cx="11473957" cy="516524"/>
          </a:xfrm>
          <a:prstGeom prst="rect">
            <a:avLst/>
          </a:prstGeom>
          <a:solidFill>
            <a:srgbClr val="F0D5FF"/>
          </a:solidFill>
        </p:spPr>
        <p:txBody>
          <a:bodyPr vert="horz" lIns="0" tIns="0" rIns="0" bIns="0" rtlCol="0" anchor="ctr">
            <a:normAutofit/>
          </a:bodyPr>
          <a:lstStyle>
            <a:defPPr>
              <a:defRPr lang="es-ES"/>
            </a:defPPr>
            <a:lvl1pPr marR="0" indent="0" defTabSz="91433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/>
              <a:t>Presión arterial elevada e hipertensión arterial</a:t>
            </a: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949127B5-A75E-904D-0EAB-A21E4ADF5BFE}"/>
              </a:ext>
            </a:extLst>
          </p:cNvPr>
          <p:cNvSpPr txBox="1"/>
          <p:nvPr/>
        </p:nvSpPr>
        <p:spPr>
          <a:xfrm>
            <a:off x="6876093" y="5142956"/>
            <a:ext cx="4216616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pt-BR" sz="800" b="1" i="1" dirty="0" err="1">
                <a:solidFill>
                  <a:schemeClr val="accent1"/>
                </a:solidFill>
              </a:rPr>
              <a:t>Circulation</a:t>
            </a:r>
            <a:r>
              <a:rPr lang="pt-BR" sz="800" b="1" i="1" dirty="0">
                <a:solidFill>
                  <a:schemeClr val="accent1"/>
                </a:solidFill>
              </a:rPr>
              <a:t>. 2025 </a:t>
            </a:r>
            <a:r>
              <a:rPr lang="pt-BR" sz="800" b="1" i="1" dirty="0" err="1">
                <a:solidFill>
                  <a:schemeClr val="accent1"/>
                </a:solidFill>
              </a:rPr>
              <a:t>Feb</a:t>
            </a:r>
            <a:r>
              <a:rPr lang="pt-BR" sz="800" b="1" i="1" dirty="0">
                <a:solidFill>
                  <a:schemeClr val="accent1"/>
                </a:solidFill>
              </a:rPr>
              <a:t> 25;151(8):e41-e660</a:t>
            </a:r>
            <a:endParaRPr lang="es-ES" sz="800" b="1" i="1" dirty="0">
              <a:solidFill>
                <a:schemeClr val="accent1"/>
              </a:solidFill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E99B132C-6C51-87D3-3244-D7A4BD523741}"/>
              </a:ext>
            </a:extLst>
          </p:cNvPr>
          <p:cNvSpPr txBox="1"/>
          <p:nvPr/>
        </p:nvSpPr>
        <p:spPr>
          <a:xfrm>
            <a:off x="904875" y="2715174"/>
            <a:ext cx="5191124" cy="43088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dirty="0"/>
              <a:t>La hipertensión resistente es común en los afroamericanos y se asocia con un mayor riesgo de daño a los órganos diana</a:t>
            </a:r>
            <a:r>
              <a:rPr lang="es-ES" baseline="30000" dirty="0">
                <a:solidFill>
                  <a:schemeClr val="accent1"/>
                </a:solidFill>
              </a:rPr>
              <a:t>1,3</a:t>
            </a:r>
            <a:r>
              <a:rPr lang="es-ES" dirty="0"/>
              <a:t>.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9B95D9FF-0573-31FB-AD85-C61627F5E50B}"/>
              </a:ext>
            </a:extLst>
          </p:cNvPr>
          <p:cNvSpPr txBox="1"/>
          <p:nvPr/>
        </p:nvSpPr>
        <p:spPr>
          <a:xfrm>
            <a:off x="904371" y="3538793"/>
            <a:ext cx="5182664" cy="646331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s-ES"/>
            </a:defPPr>
            <a:lvl1pPr marL="285750" marR="0" indent="-28575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n un análisis del estudio CREOLE, de personas negras del África subsahariana con hipertensión no controlada, la prevalencia de HT non-</a:t>
            </a:r>
            <a:r>
              <a:rPr lang="es-ES" dirty="0" err="1"/>
              <a:t>dipping</a:t>
            </a:r>
            <a:r>
              <a:rPr lang="es-ES" dirty="0"/>
              <a:t> fue del 78%</a:t>
            </a:r>
            <a:r>
              <a:rPr lang="es-ES" baseline="30000" dirty="0"/>
              <a:t>4</a:t>
            </a:r>
            <a:r>
              <a:rPr lang="es-ES" dirty="0"/>
              <a:t>.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04F8F3E3-163C-C337-1E4D-2C581F1EFF2A}"/>
              </a:ext>
            </a:extLst>
          </p:cNvPr>
          <p:cNvSpPr txBox="1"/>
          <p:nvPr/>
        </p:nvSpPr>
        <p:spPr>
          <a:xfrm>
            <a:off x="904371" y="4566012"/>
            <a:ext cx="5182664" cy="646331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s-ES"/>
            </a:defPPr>
            <a:lvl1pPr marL="285750" marR="0" indent="-28575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En </a:t>
            </a:r>
            <a:r>
              <a:rPr lang="es-ES" dirty="0"/>
              <a:t>presencia</a:t>
            </a:r>
            <a:r>
              <a:rPr lang="en-US" dirty="0"/>
              <a:t> de la HT, </a:t>
            </a:r>
            <a:r>
              <a:rPr lang="es-ES" dirty="0"/>
              <a:t>la tasa de mortalidad ajustada por edades es más alta en los hombres y mujeres de raza negra que en los individuos de otras razas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5BB1D57F-D643-AB7F-7336-E7BE7CB5D36C}"/>
              </a:ext>
            </a:extLst>
          </p:cNvPr>
          <p:cNvSpPr txBox="1"/>
          <p:nvPr/>
        </p:nvSpPr>
        <p:spPr>
          <a:xfrm rot="16200000">
            <a:off x="10584462" y="3677419"/>
            <a:ext cx="25370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0</a:t>
            </a:r>
            <a:endParaRPr lang="es-ES" sz="12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8116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06069E-704A-F891-5CA6-7C022737F3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uadroTexto 12">
            <a:extLst>
              <a:ext uri="{FF2B5EF4-FFF2-40B4-BE49-F238E27FC236}">
                <a16:creationId xmlns:a16="http://schemas.microsoft.com/office/drawing/2014/main" id="{BAF45201-CAA2-0D48-CA50-7CE9EC2A4707}"/>
              </a:ext>
            </a:extLst>
          </p:cNvPr>
          <p:cNvSpPr txBox="1"/>
          <p:nvPr/>
        </p:nvSpPr>
        <p:spPr>
          <a:xfrm>
            <a:off x="617985" y="5733784"/>
            <a:ext cx="5678424" cy="47854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b="1" dirty="0"/>
              <a:t>1.</a:t>
            </a:r>
            <a:r>
              <a:rPr lang="en-US" dirty="0"/>
              <a:t>.McEvoy JW, et al. 2024 ESC Guidelines for the management of elevated blood pressure and hypertension. European Heart Journal (2024) 00, 1–107 https://doi.org/10.1093/eurheartj/ehae178</a:t>
            </a:r>
            <a:endParaRPr lang="es-ES" dirty="0"/>
          </a:p>
          <a:p>
            <a:endParaRPr lang="pt-BR" dirty="0"/>
          </a:p>
        </p:txBody>
      </p:sp>
      <p:sp>
        <p:nvSpPr>
          <p:cNvPr id="18" name="Título 1">
            <a:extLst>
              <a:ext uri="{FF2B5EF4-FFF2-40B4-BE49-F238E27FC236}">
                <a16:creationId xmlns:a16="http://schemas.microsoft.com/office/drawing/2014/main" id="{4FC8E849-E54A-6194-4AB6-A86A402AC747}"/>
              </a:ext>
            </a:extLst>
          </p:cNvPr>
          <p:cNvSpPr txBox="1">
            <a:spLocks/>
          </p:cNvSpPr>
          <p:nvPr/>
        </p:nvSpPr>
        <p:spPr>
          <a:xfrm>
            <a:off x="394955" y="160786"/>
            <a:ext cx="11473957" cy="46721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dirty="0"/>
              <a:t>Factores de riesgo cardiovascular y su manejo en raza negra:</a:t>
            </a:r>
          </a:p>
        </p:txBody>
      </p:sp>
      <p:sp>
        <p:nvSpPr>
          <p:cNvPr id="19" name="Título 1">
            <a:extLst>
              <a:ext uri="{FF2B5EF4-FFF2-40B4-BE49-F238E27FC236}">
                <a16:creationId xmlns:a16="http://schemas.microsoft.com/office/drawing/2014/main" id="{4EB72997-263C-6E23-050F-4BBCA59DF0EA}"/>
              </a:ext>
            </a:extLst>
          </p:cNvPr>
          <p:cNvSpPr txBox="1">
            <a:spLocks/>
          </p:cNvSpPr>
          <p:nvPr/>
        </p:nvSpPr>
        <p:spPr>
          <a:xfrm>
            <a:off x="394955" y="628006"/>
            <a:ext cx="11473957" cy="516524"/>
          </a:xfrm>
          <a:prstGeom prst="rect">
            <a:avLst/>
          </a:prstGeom>
          <a:solidFill>
            <a:srgbClr val="F0D5FF"/>
          </a:solidFill>
        </p:spPr>
        <p:txBody>
          <a:bodyPr vert="horz" lIns="0" tIns="0" rIns="0" bIns="0" rtlCol="0" anchor="ctr">
            <a:normAutofit/>
          </a:bodyPr>
          <a:lstStyle>
            <a:defPPr>
              <a:defRPr lang="es-ES"/>
            </a:defPPr>
            <a:lvl1pPr marR="0" indent="0" defTabSz="91433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/>
              <a:t>Presión arterial elevada e hipertensión arterial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DC4BDCE5-D319-D57A-AF7A-CE55F58AD12C}"/>
              </a:ext>
            </a:extLst>
          </p:cNvPr>
          <p:cNvSpPr txBox="1"/>
          <p:nvPr/>
        </p:nvSpPr>
        <p:spPr>
          <a:xfrm>
            <a:off x="1423416" y="1796013"/>
            <a:ext cx="4672584" cy="43088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accent3"/>
                </a:solidFill>
              </a:defRPr>
            </a:lvl1pPr>
          </a:lstStyle>
          <a:p>
            <a:r>
              <a:rPr lang="en-US" sz="1400" dirty="0">
                <a:solidFill>
                  <a:schemeClr val="accent1"/>
                </a:solidFill>
              </a:rPr>
              <a:t>Las </a:t>
            </a:r>
            <a:r>
              <a:rPr lang="en-US" sz="1400" dirty="0" err="1">
                <a:solidFill>
                  <a:schemeClr val="accent1"/>
                </a:solidFill>
              </a:rPr>
              <a:t>guías</a:t>
            </a:r>
            <a:r>
              <a:rPr lang="en-US" sz="1400" dirty="0">
                <a:solidFill>
                  <a:schemeClr val="accent1"/>
                </a:solidFill>
              </a:rPr>
              <a:t> ESC 2024 </a:t>
            </a:r>
            <a:r>
              <a:rPr lang="es-ES" sz="1400" dirty="0">
                <a:solidFill>
                  <a:schemeClr val="accent1"/>
                </a:solidFill>
              </a:rPr>
              <a:t>para el manejo de la presión arterial elevada y la hipertensión reconocen que: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81E30BC3-2ED5-7710-DA96-B8C2F78C3794}"/>
              </a:ext>
            </a:extLst>
          </p:cNvPr>
          <p:cNvSpPr txBox="1"/>
          <p:nvPr/>
        </p:nvSpPr>
        <p:spPr>
          <a:xfrm>
            <a:off x="537568" y="2743425"/>
            <a:ext cx="5678424" cy="280076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accent3"/>
                </a:solidFill>
              </a:defRPr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sz="1400" dirty="0">
                <a:solidFill>
                  <a:schemeClr val="accent1"/>
                </a:solidFill>
              </a:rPr>
              <a:t>Las poblaciones de minorías étnicas se ven afectadas de manera desproporcionada por la hipertensión y sus complicaciones en comparación con los europeos nativos</a:t>
            </a:r>
            <a:r>
              <a:rPr lang="es-ES" sz="1400" baseline="30000" dirty="0">
                <a:solidFill>
                  <a:schemeClr val="accent1"/>
                </a:solidFill>
              </a:rPr>
              <a:t>1</a:t>
            </a:r>
            <a:r>
              <a:rPr lang="es-ES" sz="1400" dirty="0">
                <a:solidFill>
                  <a:schemeClr val="accent1"/>
                </a:solidFill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accent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sz="1400" dirty="0">
                <a:solidFill>
                  <a:schemeClr val="accent1"/>
                </a:solidFill>
              </a:rPr>
              <a:t>El grupo predominante de la etnia negra europea es originario del África subsahariana</a:t>
            </a:r>
            <a:r>
              <a:rPr lang="es-ES" sz="1400" baseline="30000" dirty="0">
                <a:solidFill>
                  <a:schemeClr val="accent1"/>
                </a:solidFill>
              </a:rPr>
              <a:t>1</a:t>
            </a:r>
            <a:r>
              <a:rPr lang="es-ES" sz="1400" dirty="0">
                <a:solidFill>
                  <a:schemeClr val="accent1"/>
                </a:solidFill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s-ES" sz="1400" dirty="0">
              <a:solidFill>
                <a:schemeClr val="accent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sz="1400" dirty="0">
                <a:solidFill>
                  <a:schemeClr val="accent1"/>
                </a:solidFill>
              </a:rPr>
              <a:t>Los datos a menudo se extrapolan de estudios en la población afroamericana y faltan estudios en esta población</a:t>
            </a:r>
            <a:r>
              <a:rPr lang="es-ES" sz="1400" baseline="30000" dirty="0">
                <a:solidFill>
                  <a:schemeClr val="accent1"/>
                </a:solidFill>
              </a:rPr>
              <a:t>1.</a:t>
            </a:r>
            <a:endParaRPr lang="es-ES" sz="1400" dirty="0">
              <a:solidFill>
                <a:schemeClr val="accent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s-ES" sz="1400" dirty="0">
              <a:solidFill>
                <a:schemeClr val="accent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sz="1400" dirty="0">
                <a:solidFill>
                  <a:schemeClr val="accent1"/>
                </a:solidFill>
              </a:rPr>
              <a:t>Cautela: probables diferencias entre estas poblaciones en términos de RCV, estatus económico y sociológico, y respuestas a los fármacos de la presión arterial</a:t>
            </a:r>
            <a:r>
              <a:rPr lang="es-ES" sz="1400" baseline="30000" dirty="0">
                <a:solidFill>
                  <a:schemeClr val="accent1"/>
                </a:solidFill>
              </a:rPr>
              <a:t>1</a:t>
            </a:r>
            <a:r>
              <a:rPr lang="es-ES" sz="1400" dirty="0">
                <a:solidFill>
                  <a:schemeClr val="accent1"/>
                </a:solidFill>
              </a:rPr>
              <a:t>.</a:t>
            </a:r>
          </a:p>
        </p:txBody>
      </p:sp>
      <p:pic>
        <p:nvPicPr>
          <p:cNvPr id="1026" name="Picture 2" descr="ESC Congress 2024">
            <a:extLst>
              <a:ext uri="{FF2B5EF4-FFF2-40B4-BE49-F238E27FC236}">
                <a16:creationId xmlns:a16="http://schemas.microsoft.com/office/drawing/2014/main" id="{50135343-221F-906C-8FC5-EC3948464E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264" y="1575622"/>
            <a:ext cx="877152" cy="871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5C90BF2F-92CC-A1EF-AC9C-AF939B6F32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5996" y="1661055"/>
            <a:ext cx="4672584" cy="4697706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B8E48AA1-3D44-18D6-5101-6BE12CFB9034}"/>
              </a:ext>
            </a:extLst>
          </p:cNvPr>
          <p:cNvSpPr txBox="1"/>
          <p:nvPr/>
        </p:nvSpPr>
        <p:spPr>
          <a:xfrm>
            <a:off x="6992470" y="6358761"/>
            <a:ext cx="4419601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dirty="0"/>
              <a:t>European Heart Journal (2024) 00, 1–107 </a:t>
            </a:r>
            <a:endParaRPr lang="es-ES" dirty="0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8189C5C7-C628-5B11-D6D6-C235712017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10447" y="1316383"/>
            <a:ext cx="432368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" altLang="es-ES" sz="1400" b="1" dirty="0">
                <a:solidFill>
                  <a:schemeClr val="tx1">
                    <a:lumMod val="50000"/>
                  </a:schemeClr>
                </a:solidFill>
              </a:rPr>
              <a:t>Fisiopatología de la presión elevada y hipertensión</a:t>
            </a:r>
            <a:r>
              <a:rPr lang="es-ES" altLang="es-ES" sz="1400" b="1" baseline="30000" dirty="0">
                <a:solidFill>
                  <a:schemeClr val="tx1">
                    <a:lumMod val="50000"/>
                  </a:schemeClr>
                </a:solidFill>
              </a:rPr>
              <a:t>1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2A07AA60-294B-ADBE-49CF-7434DE69498E}"/>
              </a:ext>
            </a:extLst>
          </p:cNvPr>
          <p:cNvSpPr txBox="1"/>
          <p:nvPr/>
        </p:nvSpPr>
        <p:spPr>
          <a:xfrm rot="16200000">
            <a:off x="10584462" y="3677419"/>
            <a:ext cx="25370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0</a:t>
            </a:r>
            <a:endParaRPr lang="es-ES" sz="12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2237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C083E4F9-2C51-B346-0F20-B2D009A5491C}"/>
              </a:ext>
            </a:extLst>
          </p:cNvPr>
          <p:cNvSpPr txBox="1"/>
          <p:nvPr/>
        </p:nvSpPr>
        <p:spPr>
          <a:xfrm>
            <a:off x="1598033" y="6266352"/>
            <a:ext cx="9067800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b="1" dirty="0"/>
              <a:t>1</a:t>
            </a:r>
            <a:r>
              <a:rPr lang="en-US" dirty="0"/>
              <a:t>. McEvoy JW, et al. 2024 ESC Guidelines for the management of elevated blood pressure and hypertension. European Heart Journal (2024) 00, 1–107 </a:t>
            </a:r>
            <a:r>
              <a:rPr lang="en-US" b="1" dirty="0"/>
              <a:t>2</a:t>
            </a:r>
            <a:r>
              <a:rPr lang="en-US" dirty="0"/>
              <a:t>. Huang L, et al. Effect of dose and duration of reduction in dietary sodium on blood pressure levels: systematic review and meta-analysis of </a:t>
            </a:r>
            <a:r>
              <a:rPr lang="en-US" dirty="0" err="1"/>
              <a:t>randomised</a:t>
            </a:r>
            <a:r>
              <a:rPr lang="en-US" dirty="0"/>
              <a:t> trials. BMJ . 2020 Feb 24:368:m315. 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BF36CB6D-2D92-6AA2-BEF4-812B24E1854B}"/>
              </a:ext>
            </a:extLst>
          </p:cNvPr>
          <p:cNvSpPr txBox="1"/>
          <p:nvPr/>
        </p:nvSpPr>
        <p:spPr>
          <a:xfrm>
            <a:off x="725576" y="5456803"/>
            <a:ext cx="5587156" cy="43088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accent1"/>
                </a:solidFill>
              </a:defRPr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sz="1400" dirty="0"/>
              <a:t>La restricción de sal, los diuréticos tiazídicos o similares y los BCC parecen particularmente útiles en pacientes negros con HT</a:t>
            </a:r>
            <a:r>
              <a:rPr lang="es-ES" sz="1400" baseline="30000" dirty="0"/>
              <a:t>1</a:t>
            </a:r>
            <a:r>
              <a:rPr lang="es-ES" sz="1400" dirty="0"/>
              <a:t>. </a:t>
            </a:r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2904B537-983A-9E15-114F-33DCC981DC14}"/>
              </a:ext>
            </a:extLst>
          </p:cNvPr>
          <p:cNvSpPr txBox="1">
            <a:spLocks/>
          </p:cNvSpPr>
          <p:nvPr/>
        </p:nvSpPr>
        <p:spPr>
          <a:xfrm>
            <a:off x="394955" y="160786"/>
            <a:ext cx="11473957" cy="46721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vert="horz" lIns="0" tIns="0" rIns="0" bIns="0" rtlCol="0" anchor="ctr">
            <a:normAutofit/>
          </a:bodyPr>
          <a:lstStyle>
            <a:defPPr>
              <a:defRPr lang="es-ES"/>
            </a:defPPr>
            <a:lvl1pPr marR="0" indent="0" defTabSz="91433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/>
              <a:t>Factores de riesgo cardiovascular </a:t>
            </a:r>
            <a:r>
              <a:rPr lang="es-ES" sz="2400" dirty="0"/>
              <a:t>y su manejo en raza negra: </a:t>
            </a:r>
            <a:endParaRPr lang="es-ES" dirty="0"/>
          </a:p>
        </p:txBody>
      </p:sp>
      <p:sp>
        <p:nvSpPr>
          <p:cNvPr id="12" name="Título 1">
            <a:extLst>
              <a:ext uri="{FF2B5EF4-FFF2-40B4-BE49-F238E27FC236}">
                <a16:creationId xmlns:a16="http://schemas.microsoft.com/office/drawing/2014/main" id="{82F138C4-C85A-D5A0-5E3C-FE61E26BF6F5}"/>
              </a:ext>
            </a:extLst>
          </p:cNvPr>
          <p:cNvSpPr txBox="1">
            <a:spLocks/>
          </p:cNvSpPr>
          <p:nvPr/>
        </p:nvSpPr>
        <p:spPr>
          <a:xfrm>
            <a:off x="394955" y="628006"/>
            <a:ext cx="11473957" cy="516524"/>
          </a:xfrm>
          <a:prstGeom prst="rect">
            <a:avLst/>
          </a:prstGeom>
          <a:solidFill>
            <a:srgbClr val="F0D5FF"/>
          </a:solidFill>
        </p:spPr>
        <p:txBody>
          <a:bodyPr vert="horz" lIns="0" tIns="0" rIns="0" bIns="0" rtlCol="0" anchor="ctr">
            <a:normAutofit/>
          </a:bodyPr>
          <a:lstStyle>
            <a:defPPr>
              <a:defRPr lang="es-ES"/>
            </a:defPPr>
            <a:lvl1pPr marR="0" indent="0" defTabSz="91433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/>
              <a:t>Presión arterial elevada e hipertensión arterial: fisiopatología y tratamiento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AFD02CDF-12BB-99C1-9002-1D18EB33FA3C}"/>
              </a:ext>
            </a:extLst>
          </p:cNvPr>
          <p:cNvSpPr txBox="1"/>
          <p:nvPr/>
        </p:nvSpPr>
        <p:spPr>
          <a:xfrm>
            <a:off x="599549" y="1477869"/>
            <a:ext cx="10785628" cy="43088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accent1"/>
                </a:solidFill>
              </a:defRPr>
            </a:lvl1pPr>
          </a:lstStyle>
          <a:p>
            <a:r>
              <a:rPr lang="es-ES" sz="1400" dirty="0"/>
              <a:t>En cuanto a la fisiopatología de la HT, los pacientes de raza negra tienen una mayor prevalencia de HT sensible a la sal con niveles bajos de renina y pueden estar más predispuestos a la lesión de órgano diana (LOD) que pacientes de raza blanca</a:t>
            </a:r>
            <a:r>
              <a:rPr lang="es-ES" sz="1400" baseline="30000" dirty="0"/>
              <a:t>1</a:t>
            </a:r>
            <a:r>
              <a:rPr lang="es-ES" sz="1400" dirty="0"/>
              <a:t>.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9B2A9266-4B13-F1C4-FDB7-CD666A9379B3}"/>
              </a:ext>
            </a:extLst>
          </p:cNvPr>
          <p:cNvSpPr txBox="1"/>
          <p:nvPr/>
        </p:nvSpPr>
        <p:spPr>
          <a:xfrm>
            <a:off x="6740413" y="5025916"/>
            <a:ext cx="4731609" cy="861774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accent1"/>
                </a:solidFill>
              </a:defRPr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sz="1400" dirty="0"/>
              <a:t>En un estudio en países del África subsahariana, el amlodipino más hidroclorotiazida o </a:t>
            </a:r>
            <a:r>
              <a:rPr lang="es-ES" sz="1400" dirty="0" err="1"/>
              <a:t>perindopril</a:t>
            </a:r>
            <a:r>
              <a:rPr lang="es-ES" sz="1400" dirty="0"/>
              <a:t> demostró ser igualmente eficaz y superior, respectivamente, a la hidroclorotiazida más perindopril</a:t>
            </a:r>
            <a:r>
              <a:rPr lang="es-ES" sz="1400" baseline="30000" dirty="0"/>
              <a:t>1</a:t>
            </a:r>
            <a:r>
              <a:rPr lang="es-ES" sz="1400" dirty="0"/>
              <a:t>.</a:t>
            </a:r>
            <a:endParaRPr lang="en-US" sz="1400" dirty="0"/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987F0ADF-0CED-6050-5B05-BF14A3AF65FD}"/>
              </a:ext>
            </a:extLst>
          </p:cNvPr>
          <p:cNvGrpSpPr/>
          <p:nvPr/>
        </p:nvGrpSpPr>
        <p:grpSpPr>
          <a:xfrm>
            <a:off x="6964474" y="2590551"/>
            <a:ext cx="4326925" cy="2056703"/>
            <a:chOff x="7267242" y="1897360"/>
            <a:chExt cx="4326925" cy="2056703"/>
          </a:xfrm>
        </p:grpSpPr>
        <p:grpSp>
          <p:nvGrpSpPr>
            <p:cNvPr id="5" name="Grupo 4">
              <a:extLst>
                <a:ext uri="{FF2B5EF4-FFF2-40B4-BE49-F238E27FC236}">
                  <a16:creationId xmlns:a16="http://schemas.microsoft.com/office/drawing/2014/main" id="{C40E87E5-EA68-3026-D256-93014773FC57}"/>
                </a:ext>
              </a:extLst>
            </p:cNvPr>
            <p:cNvGrpSpPr/>
            <p:nvPr/>
          </p:nvGrpSpPr>
          <p:grpSpPr>
            <a:xfrm>
              <a:off x="7267242" y="2053025"/>
              <a:ext cx="4326925" cy="1901038"/>
              <a:chOff x="1601963" y="3240373"/>
              <a:chExt cx="4326925" cy="1901038"/>
            </a:xfrm>
          </p:grpSpPr>
          <p:pic>
            <p:nvPicPr>
              <p:cNvPr id="6" name="Imagen 5">
                <a:extLst>
                  <a:ext uri="{FF2B5EF4-FFF2-40B4-BE49-F238E27FC236}">
                    <a16:creationId xmlns:a16="http://schemas.microsoft.com/office/drawing/2014/main" id="{7D60D602-6612-E151-C5A7-F66E34562A5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rcRect r="49922"/>
              <a:stretch/>
            </p:blipFill>
            <p:spPr>
              <a:xfrm>
                <a:off x="1601963" y="3240373"/>
                <a:ext cx="4326925" cy="1088337"/>
              </a:xfrm>
              <a:prstGeom prst="rect">
                <a:avLst/>
              </a:prstGeom>
            </p:spPr>
          </p:pic>
          <p:pic>
            <p:nvPicPr>
              <p:cNvPr id="3" name="Imagen 2">
                <a:extLst>
                  <a:ext uri="{FF2B5EF4-FFF2-40B4-BE49-F238E27FC236}">
                    <a16:creationId xmlns:a16="http://schemas.microsoft.com/office/drawing/2014/main" id="{3D0D50C2-D614-A4E4-E0FF-E31A7F81824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rcRect l="50248" t="29374"/>
              <a:stretch/>
            </p:blipFill>
            <p:spPr>
              <a:xfrm>
                <a:off x="1630122" y="4372765"/>
                <a:ext cx="4298766" cy="768646"/>
              </a:xfrm>
              <a:prstGeom prst="rect">
                <a:avLst/>
              </a:prstGeom>
            </p:spPr>
          </p:pic>
        </p:grpSp>
        <p:pic>
          <p:nvPicPr>
            <p:cNvPr id="21" name="Picture 2" descr="ESC Congress 2024">
              <a:extLst>
                <a:ext uri="{FF2B5EF4-FFF2-40B4-BE49-F238E27FC236}">
                  <a16:creationId xmlns:a16="http://schemas.microsoft.com/office/drawing/2014/main" id="{1C5C1575-B291-639B-4679-7EDEEBD2EEA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492" t="8503" r="19564" b="12819"/>
            <a:stretch/>
          </p:blipFill>
          <p:spPr bwMode="auto">
            <a:xfrm>
              <a:off x="11141663" y="1897360"/>
              <a:ext cx="452504" cy="5711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8" name="CuadroTexto 17">
            <a:extLst>
              <a:ext uri="{FF2B5EF4-FFF2-40B4-BE49-F238E27FC236}">
                <a16:creationId xmlns:a16="http://schemas.microsoft.com/office/drawing/2014/main" id="{FC6813C0-D817-0699-D602-4B44694CB4C9}"/>
              </a:ext>
            </a:extLst>
          </p:cNvPr>
          <p:cNvSpPr txBox="1"/>
          <p:nvPr/>
        </p:nvSpPr>
        <p:spPr>
          <a:xfrm>
            <a:off x="725577" y="4569503"/>
            <a:ext cx="5587154" cy="64633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accent1"/>
                </a:solidFill>
              </a:defRPr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sz="1400" dirty="0"/>
              <a:t>En un meta-análisis de 133 estudios con 12197 participantes, se observó una mayor disminución de la PAS y la PAD a partir de la misma reducción de sodio en las personas de raza negra</a:t>
            </a:r>
            <a:r>
              <a:rPr lang="es-ES" sz="1400" baseline="30000" dirty="0"/>
              <a:t>2</a:t>
            </a:r>
            <a:r>
              <a:rPr lang="es-ES" sz="1400" dirty="0"/>
              <a:t>.</a:t>
            </a:r>
          </a:p>
        </p:txBody>
      </p:sp>
      <p:grpSp>
        <p:nvGrpSpPr>
          <p:cNvPr id="29" name="Grupo 28">
            <a:extLst>
              <a:ext uri="{FF2B5EF4-FFF2-40B4-BE49-F238E27FC236}">
                <a16:creationId xmlns:a16="http://schemas.microsoft.com/office/drawing/2014/main" id="{6AD3F508-A959-FC4B-FDDD-6A0AE74535DF}"/>
              </a:ext>
            </a:extLst>
          </p:cNvPr>
          <p:cNvGrpSpPr/>
          <p:nvPr/>
        </p:nvGrpSpPr>
        <p:grpSpPr>
          <a:xfrm>
            <a:off x="900600" y="3003083"/>
            <a:ext cx="5412131" cy="1047771"/>
            <a:chOff x="4035306" y="4696032"/>
            <a:chExt cx="7934982" cy="1530662"/>
          </a:xfrm>
        </p:grpSpPr>
        <p:grpSp>
          <p:nvGrpSpPr>
            <p:cNvPr id="26" name="Grupo 25">
              <a:extLst>
                <a:ext uri="{FF2B5EF4-FFF2-40B4-BE49-F238E27FC236}">
                  <a16:creationId xmlns:a16="http://schemas.microsoft.com/office/drawing/2014/main" id="{5EC57279-67DD-C3F9-EBD9-0BB95F862AC2}"/>
                </a:ext>
              </a:extLst>
            </p:cNvPr>
            <p:cNvGrpSpPr/>
            <p:nvPr/>
          </p:nvGrpSpPr>
          <p:grpSpPr>
            <a:xfrm>
              <a:off x="5084064" y="4696032"/>
              <a:ext cx="6886224" cy="1530662"/>
              <a:chOff x="2572177" y="3015572"/>
              <a:chExt cx="9524748" cy="2556483"/>
            </a:xfrm>
          </p:grpSpPr>
          <p:pic>
            <p:nvPicPr>
              <p:cNvPr id="23" name="Imagen 22">
                <a:extLst>
                  <a:ext uri="{FF2B5EF4-FFF2-40B4-BE49-F238E27FC236}">
                    <a16:creationId xmlns:a16="http://schemas.microsoft.com/office/drawing/2014/main" id="{CB5E3DC6-7FF5-BDB6-4C9D-BBFB7301CA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rcRect l="21097" t="9920" r="779" b="-1"/>
              <a:stretch/>
            </p:blipFill>
            <p:spPr>
              <a:xfrm>
                <a:off x="2572177" y="3015572"/>
                <a:ext cx="9524748" cy="929177"/>
              </a:xfrm>
              <a:prstGeom prst="rect">
                <a:avLst/>
              </a:prstGeom>
            </p:spPr>
          </p:pic>
          <p:pic>
            <p:nvPicPr>
              <p:cNvPr id="25" name="Imagen 24">
                <a:extLst>
                  <a:ext uri="{FF2B5EF4-FFF2-40B4-BE49-F238E27FC236}">
                    <a16:creationId xmlns:a16="http://schemas.microsoft.com/office/drawing/2014/main" id="{F21F31E0-BBFA-A818-4FB8-EE61259844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rcRect l="21085" r="792" b="6209"/>
              <a:stretch/>
            </p:blipFill>
            <p:spPr>
              <a:xfrm>
                <a:off x="2572177" y="3910227"/>
                <a:ext cx="9524748" cy="1661828"/>
              </a:xfrm>
              <a:prstGeom prst="rect">
                <a:avLst/>
              </a:prstGeom>
            </p:spPr>
          </p:pic>
        </p:grpSp>
        <p:pic>
          <p:nvPicPr>
            <p:cNvPr id="27" name="Imagen 26">
              <a:extLst>
                <a:ext uri="{FF2B5EF4-FFF2-40B4-BE49-F238E27FC236}">
                  <a16:creationId xmlns:a16="http://schemas.microsoft.com/office/drawing/2014/main" id="{E419600E-6FF4-A098-A1B8-2EA6B8AB108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l="469" t="15259" r="87038" b="2326"/>
            <a:stretch/>
          </p:blipFill>
          <p:spPr>
            <a:xfrm>
              <a:off x="4039040" y="4731092"/>
              <a:ext cx="1101107" cy="508992"/>
            </a:xfrm>
            <a:prstGeom prst="rect">
              <a:avLst/>
            </a:prstGeom>
          </p:spPr>
        </p:pic>
        <p:pic>
          <p:nvPicPr>
            <p:cNvPr id="28" name="Imagen 27">
              <a:extLst>
                <a:ext uri="{FF2B5EF4-FFF2-40B4-BE49-F238E27FC236}">
                  <a16:creationId xmlns:a16="http://schemas.microsoft.com/office/drawing/2014/main" id="{48A15349-AAFA-6CEF-4445-3326A9E097F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470" r="87132" b="7892"/>
            <a:stretch/>
          </p:blipFill>
          <p:spPr>
            <a:xfrm>
              <a:off x="4035306" y="5238063"/>
              <a:ext cx="1092831" cy="977144"/>
            </a:xfrm>
            <a:prstGeom prst="rect">
              <a:avLst/>
            </a:prstGeom>
          </p:spPr>
        </p:pic>
      </p:grpSp>
      <p:sp>
        <p:nvSpPr>
          <p:cNvPr id="8" name="CuadroTexto 7">
            <a:extLst>
              <a:ext uri="{FF2B5EF4-FFF2-40B4-BE49-F238E27FC236}">
                <a16:creationId xmlns:a16="http://schemas.microsoft.com/office/drawing/2014/main" id="{CFDC3D1B-311C-DDD2-B369-C71656BC21E1}"/>
              </a:ext>
            </a:extLst>
          </p:cNvPr>
          <p:cNvSpPr txBox="1"/>
          <p:nvPr/>
        </p:nvSpPr>
        <p:spPr>
          <a:xfrm>
            <a:off x="471154" y="2213325"/>
            <a:ext cx="6096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400" b="1" i="0" u="none" strike="noStrike" baseline="0">
                <a:solidFill>
                  <a:srgbClr val="000000"/>
                </a:solidFill>
                <a:latin typeface="Akzidenz Grotesk BE Bold"/>
              </a:defRPr>
            </a:lvl1pPr>
          </a:lstStyle>
          <a:p>
            <a:r>
              <a:rPr lang="es-ES" dirty="0"/>
              <a:t>Efectos de la etnicidad en el tamaño de la reducción de la presión arterial lograda con una reducción de 50 mmol en la excreción de sodio</a:t>
            </a:r>
            <a:r>
              <a:rPr lang="en-US" baseline="30000" dirty="0"/>
              <a:t>2</a:t>
            </a:r>
            <a:endParaRPr lang="es-ES" baseline="30000" dirty="0"/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14AD5503-6332-190F-BBBD-25FF19E8C5EE}"/>
              </a:ext>
            </a:extLst>
          </p:cNvPr>
          <p:cNvSpPr txBox="1"/>
          <p:nvPr/>
        </p:nvSpPr>
        <p:spPr>
          <a:xfrm>
            <a:off x="6711838" y="2200356"/>
            <a:ext cx="487627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400" b="1" i="0" u="none" strike="noStrike" baseline="0">
                <a:solidFill>
                  <a:srgbClr val="000000"/>
                </a:solidFill>
                <a:latin typeface="Akzidenz Grotesk BE Bold"/>
              </a:defRPr>
            </a:lvl1pPr>
          </a:lstStyle>
          <a:p>
            <a:r>
              <a:rPr lang="en-US" dirty="0" err="1"/>
              <a:t>Recomendaciones</a:t>
            </a:r>
            <a:r>
              <a:rPr lang="en-US" dirty="0"/>
              <a:t> ESC para </a:t>
            </a:r>
            <a:r>
              <a:rPr lang="en-US" dirty="0" err="1"/>
              <a:t>el</a:t>
            </a:r>
            <a:r>
              <a:rPr lang="en-US" dirty="0"/>
              <a:t> </a:t>
            </a:r>
            <a:r>
              <a:rPr lang="en-US" dirty="0" err="1"/>
              <a:t>manejo</a:t>
            </a:r>
            <a:r>
              <a:rPr lang="en-US" dirty="0"/>
              <a:t> de la HT </a:t>
            </a:r>
            <a:r>
              <a:rPr lang="en-US" dirty="0" err="1"/>
              <a:t>en</a:t>
            </a:r>
            <a:r>
              <a:rPr lang="en-US" dirty="0"/>
              <a:t> raza negra</a:t>
            </a:r>
            <a:r>
              <a:rPr lang="en-US" baseline="30000" dirty="0"/>
              <a:t>1</a:t>
            </a:r>
            <a:endParaRPr lang="es-ES" baseline="30000" dirty="0"/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2EAE8483-6C34-D63C-0567-13845953E47E}"/>
              </a:ext>
            </a:extLst>
          </p:cNvPr>
          <p:cNvSpPr txBox="1"/>
          <p:nvPr/>
        </p:nvSpPr>
        <p:spPr>
          <a:xfrm>
            <a:off x="6964474" y="4663056"/>
            <a:ext cx="4326925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dirty="0"/>
              <a:t>European Heart Journal (2024) 00, 1–107 </a:t>
            </a:r>
            <a:endParaRPr lang="es-ES" dirty="0"/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6279C0A4-A0C4-A325-01F9-37D787BB233C}"/>
              </a:ext>
            </a:extLst>
          </p:cNvPr>
          <p:cNvSpPr txBox="1"/>
          <p:nvPr/>
        </p:nvSpPr>
        <p:spPr>
          <a:xfrm>
            <a:off x="809669" y="4157712"/>
            <a:ext cx="6096000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dirty="0"/>
              <a:t>BMJ . 2020 Feb 24:368:m315</a:t>
            </a:r>
            <a:endParaRPr lang="es-ES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2C3CC538-96AB-9AA9-0AF7-83B01DFA7D99}"/>
              </a:ext>
            </a:extLst>
          </p:cNvPr>
          <p:cNvSpPr txBox="1"/>
          <p:nvPr/>
        </p:nvSpPr>
        <p:spPr>
          <a:xfrm rot="16200000">
            <a:off x="10584462" y="3677419"/>
            <a:ext cx="25370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0</a:t>
            </a:r>
            <a:endParaRPr lang="es-ES" sz="12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5631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BC17588-4449-38DE-585D-2A78F3338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Declaración de intereses: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12205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6E41B2-974F-EFA4-58B9-830FBBBE58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51EF96F9-808A-BE58-CF83-08E8CA2E08DC}"/>
              </a:ext>
            </a:extLst>
          </p:cNvPr>
          <p:cNvSpPr txBox="1"/>
          <p:nvPr/>
        </p:nvSpPr>
        <p:spPr>
          <a:xfrm>
            <a:off x="1133475" y="6054784"/>
            <a:ext cx="9826931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b="1" dirty="0"/>
              <a:t>1</a:t>
            </a:r>
            <a:r>
              <a:rPr lang="en-US" dirty="0"/>
              <a:t>. McEvoy JW, et al. 2024 ESC Guidelines for the management of elevated blood pressure and hypertension. European Heart Journal (2024) 00, 1–107 </a:t>
            </a:r>
            <a:r>
              <a:rPr lang="en-US" dirty="0" err="1"/>
              <a:t>doi</a:t>
            </a:r>
            <a:r>
              <a:rPr lang="en-US" dirty="0"/>
              <a:t>: 10.1093/eurheartj/ehae178. </a:t>
            </a:r>
            <a:r>
              <a:rPr lang="en-US" b="1" dirty="0"/>
              <a:t>2</a:t>
            </a:r>
            <a:r>
              <a:rPr lang="en-US" dirty="0"/>
              <a:t>. Peck RN, et al. Difference in blood pressure response to ACE-Inhibitor monotherapy between black and white adults with arterial hypertension: a meta-analysis of 13 clinical trials. BMC Nephrology 2013, 14:201. </a:t>
            </a:r>
            <a:r>
              <a:rPr lang="en-US" b="1" dirty="0"/>
              <a:t>3. </a:t>
            </a:r>
            <a:r>
              <a:rPr lang="en-US" dirty="0"/>
              <a:t>Helmer A, et al. A Review of ACE Inhibitors and ARBs in Black Patients With Hypertension. Ann </a:t>
            </a:r>
            <a:r>
              <a:rPr lang="en-US" dirty="0" err="1"/>
              <a:t>Pharmacother</a:t>
            </a:r>
            <a:r>
              <a:rPr lang="en-US" dirty="0"/>
              <a:t>. 2018 Nov;52(11):1143-1151. </a:t>
            </a:r>
            <a:r>
              <a:rPr lang="en-US" b="1" dirty="0"/>
              <a:t>4</a:t>
            </a:r>
            <a:r>
              <a:rPr lang="en-US" dirty="0"/>
              <a:t>. </a:t>
            </a:r>
            <a:r>
              <a:rPr lang="en-US" dirty="0" err="1"/>
              <a:t>Cutrell</a:t>
            </a:r>
            <a:r>
              <a:rPr lang="en-US" dirty="0"/>
              <a:t> S, et al. ACE-Inhibitors in Hypertension: A Historical Perspective and Current Insights. Curr </a:t>
            </a:r>
            <a:r>
              <a:rPr lang="en-US" dirty="0" err="1"/>
              <a:t>Hypertens</a:t>
            </a:r>
            <a:r>
              <a:rPr lang="en-US" dirty="0"/>
              <a:t> Rep. 2023 Sep;25(9):243-250. 5. Novo S, et al. Role of ARBs in the blood hypertension therapy and prevention of cardiovascular events. Curr Drug Targets. 2009 Jan;10(1):20-5. 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D97AEC2D-4C3D-8196-67DD-111DEB3B672C}"/>
              </a:ext>
            </a:extLst>
          </p:cNvPr>
          <p:cNvSpPr txBox="1"/>
          <p:nvPr/>
        </p:nvSpPr>
        <p:spPr>
          <a:xfrm>
            <a:off x="431234" y="1905568"/>
            <a:ext cx="11410783" cy="43088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accent1"/>
                </a:solidFill>
              </a:defRPr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sz="1400" dirty="0"/>
              <a:t>En el caso de los antagonistas del receptor de la angiotensina II (ARA-II) y los inhibidores de la enzima convertasa de la angiotensina (IECA), ambos ARA-II y IECA pueden ser menos efectivos en monoterapia en personas de raza negra</a:t>
            </a:r>
            <a:r>
              <a:rPr lang="es-ES" sz="1400" baseline="30000" dirty="0"/>
              <a:t>1,2</a:t>
            </a:r>
            <a:r>
              <a:rPr lang="es-ES" sz="1400" dirty="0"/>
              <a:t>. </a:t>
            </a:r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2C97EC29-AAFB-BF7E-B4CB-E3611AA9463F}"/>
              </a:ext>
            </a:extLst>
          </p:cNvPr>
          <p:cNvSpPr txBox="1">
            <a:spLocks/>
          </p:cNvSpPr>
          <p:nvPr/>
        </p:nvSpPr>
        <p:spPr>
          <a:xfrm>
            <a:off x="394955" y="160786"/>
            <a:ext cx="11473957" cy="46721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vert="horz" lIns="0" tIns="0" rIns="0" bIns="0" rtlCol="0" anchor="ctr">
            <a:normAutofit/>
          </a:bodyPr>
          <a:lstStyle>
            <a:defPPr>
              <a:defRPr lang="es-ES"/>
            </a:defPPr>
            <a:lvl1pPr marR="0" indent="0" defTabSz="91433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/>
              <a:t>Factores de riesgo cardiovascular </a:t>
            </a:r>
            <a:r>
              <a:rPr lang="es-ES" sz="2400" dirty="0"/>
              <a:t>y su manejo en raza negra: </a:t>
            </a:r>
            <a:endParaRPr lang="es-ES" dirty="0"/>
          </a:p>
        </p:txBody>
      </p:sp>
      <p:sp>
        <p:nvSpPr>
          <p:cNvPr id="12" name="Título 1">
            <a:extLst>
              <a:ext uri="{FF2B5EF4-FFF2-40B4-BE49-F238E27FC236}">
                <a16:creationId xmlns:a16="http://schemas.microsoft.com/office/drawing/2014/main" id="{4B80A6DC-3E21-D213-2B90-41B74E83E54B}"/>
              </a:ext>
            </a:extLst>
          </p:cNvPr>
          <p:cNvSpPr txBox="1">
            <a:spLocks/>
          </p:cNvSpPr>
          <p:nvPr/>
        </p:nvSpPr>
        <p:spPr>
          <a:xfrm>
            <a:off x="394955" y="628006"/>
            <a:ext cx="11473957" cy="516524"/>
          </a:xfrm>
          <a:prstGeom prst="rect">
            <a:avLst/>
          </a:prstGeom>
          <a:solidFill>
            <a:srgbClr val="F0D5FF"/>
          </a:solidFill>
        </p:spPr>
        <p:txBody>
          <a:bodyPr vert="horz" lIns="0" tIns="0" rIns="0" bIns="0" rtlCol="0" anchor="ctr">
            <a:normAutofit/>
          </a:bodyPr>
          <a:lstStyle>
            <a:defPPr>
              <a:defRPr lang="es-ES"/>
            </a:defPPr>
            <a:lvl1pPr marR="0" indent="0" defTabSz="91433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/>
              <a:t>Presión arterial elevada e hipertensión arterial: fisiopatología y tratamiento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52EFE1C6-A0F7-93AA-5A48-9D37B6DAA2AF}"/>
              </a:ext>
            </a:extLst>
          </p:cNvPr>
          <p:cNvSpPr txBox="1"/>
          <p:nvPr/>
        </p:nvSpPr>
        <p:spPr>
          <a:xfrm>
            <a:off x="398995" y="2521164"/>
            <a:ext cx="11410783" cy="43088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accent1"/>
                </a:solidFill>
              </a:defRPr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sz="1400" dirty="0"/>
              <a:t>Los ARA-II pueden ser preferibles a los IECA ya que los IECA se asocian a angioedemas más frecuente en raza negra (aumento de 4,5 veces mayor en personas de raza negra que de raza blanca)</a:t>
            </a:r>
            <a:r>
              <a:rPr lang="es-ES" sz="1400" baseline="30000" dirty="0"/>
              <a:t>3</a:t>
            </a:r>
            <a:r>
              <a:rPr lang="es-ES" sz="1400" dirty="0"/>
              <a:t>.</a:t>
            </a: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C0BC03C4-45D3-54DB-8239-AD69DDD5F238}"/>
              </a:ext>
            </a:extLst>
          </p:cNvPr>
          <p:cNvSpPr txBox="1"/>
          <p:nvPr/>
        </p:nvSpPr>
        <p:spPr>
          <a:xfrm>
            <a:off x="2299435" y="3298754"/>
            <a:ext cx="748274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400" b="1" i="0" u="none" strike="noStrike" baseline="0">
                <a:solidFill>
                  <a:srgbClr val="000000"/>
                </a:solidFill>
                <a:latin typeface="Akzidenz Grotesk BE Bold"/>
              </a:defRPr>
            </a:lvl1pPr>
          </a:lstStyle>
          <a:p>
            <a:r>
              <a:rPr lang="es-ES" dirty="0"/>
              <a:t>El Sistema Renina Angiotensina Aldosterona (SRAA) y mecanismo de acción de los ARA-II y IECA</a:t>
            </a:r>
            <a:r>
              <a:rPr lang="es-ES" baseline="30000" dirty="0"/>
              <a:t>4,5</a:t>
            </a:r>
          </a:p>
        </p:txBody>
      </p:sp>
      <p:grpSp>
        <p:nvGrpSpPr>
          <p:cNvPr id="58" name="Grupo 57">
            <a:extLst>
              <a:ext uri="{FF2B5EF4-FFF2-40B4-BE49-F238E27FC236}">
                <a16:creationId xmlns:a16="http://schemas.microsoft.com/office/drawing/2014/main" id="{6FA04796-36A6-FF1D-E261-483333889503}"/>
              </a:ext>
            </a:extLst>
          </p:cNvPr>
          <p:cNvGrpSpPr/>
          <p:nvPr/>
        </p:nvGrpSpPr>
        <p:grpSpPr>
          <a:xfrm>
            <a:off x="1231593" y="3819741"/>
            <a:ext cx="9728813" cy="1992310"/>
            <a:chOff x="1061262" y="3665533"/>
            <a:chExt cx="9728813" cy="1992310"/>
          </a:xfrm>
        </p:grpSpPr>
        <p:sp>
          <p:nvSpPr>
            <p:cNvPr id="30" name="Elipse 29">
              <a:extLst>
                <a:ext uri="{FF2B5EF4-FFF2-40B4-BE49-F238E27FC236}">
                  <a16:creationId xmlns:a16="http://schemas.microsoft.com/office/drawing/2014/main" id="{A075E3A9-8778-40AD-F005-1891343726AB}"/>
                </a:ext>
              </a:extLst>
            </p:cNvPr>
            <p:cNvSpPr/>
            <p:nvPr/>
          </p:nvSpPr>
          <p:spPr>
            <a:xfrm>
              <a:off x="7617127" y="4490998"/>
              <a:ext cx="1007443" cy="48072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1" name="Rectángulo 30">
              <a:extLst>
                <a:ext uri="{FF2B5EF4-FFF2-40B4-BE49-F238E27FC236}">
                  <a16:creationId xmlns:a16="http://schemas.microsoft.com/office/drawing/2014/main" id="{EA638420-5569-691C-708C-BE9D554399E3}"/>
                </a:ext>
              </a:extLst>
            </p:cNvPr>
            <p:cNvSpPr/>
            <p:nvPr/>
          </p:nvSpPr>
          <p:spPr>
            <a:xfrm>
              <a:off x="1061262" y="3682670"/>
              <a:ext cx="1839878" cy="376083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1400" b="1" dirty="0"/>
                <a:t>Angiotensinógeno</a:t>
              </a:r>
              <a:endParaRPr lang="es-ES" b="1" dirty="0"/>
            </a:p>
          </p:txBody>
        </p:sp>
        <p:sp>
          <p:nvSpPr>
            <p:cNvPr id="32" name="Rectángulo 31">
              <a:extLst>
                <a:ext uri="{FF2B5EF4-FFF2-40B4-BE49-F238E27FC236}">
                  <a16:creationId xmlns:a16="http://schemas.microsoft.com/office/drawing/2014/main" id="{577411DF-C009-3A11-0B74-72190FC6DD0C}"/>
                </a:ext>
              </a:extLst>
            </p:cNvPr>
            <p:cNvSpPr/>
            <p:nvPr/>
          </p:nvSpPr>
          <p:spPr>
            <a:xfrm>
              <a:off x="3439176" y="3682670"/>
              <a:ext cx="1470057" cy="390264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1400" b="1" dirty="0"/>
                <a:t>Angiotensina I</a:t>
              </a:r>
              <a:endParaRPr lang="es-ES" sz="1600" b="1" dirty="0"/>
            </a:p>
          </p:txBody>
        </p:sp>
        <p:sp>
          <p:nvSpPr>
            <p:cNvPr id="33" name="Rectángulo 32">
              <a:extLst>
                <a:ext uri="{FF2B5EF4-FFF2-40B4-BE49-F238E27FC236}">
                  <a16:creationId xmlns:a16="http://schemas.microsoft.com/office/drawing/2014/main" id="{5B60D91D-1048-EBF5-A7E8-FC8EC7BBF864}"/>
                </a:ext>
              </a:extLst>
            </p:cNvPr>
            <p:cNvSpPr/>
            <p:nvPr/>
          </p:nvSpPr>
          <p:spPr>
            <a:xfrm>
              <a:off x="5566077" y="3682670"/>
              <a:ext cx="1470054" cy="390264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1400" b="1" dirty="0"/>
                <a:t>Angiotensina II</a:t>
              </a:r>
              <a:endParaRPr lang="es-ES" sz="1400" b="1" dirty="0"/>
            </a:p>
          </p:txBody>
        </p:sp>
        <p:sp>
          <p:nvSpPr>
            <p:cNvPr id="34" name="Rectángulo 33">
              <a:extLst>
                <a:ext uri="{FF2B5EF4-FFF2-40B4-BE49-F238E27FC236}">
                  <a16:creationId xmlns:a16="http://schemas.microsoft.com/office/drawing/2014/main" id="{46F830B2-0ADA-25F8-114E-35B8616F0888}"/>
                </a:ext>
              </a:extLst>
            </p:cNvPr>
            <p:cNvSpPr/>
            <p:nvPr/>
          </p:nvSpPr>
          <p:spPr>
            <a:xfrm>
              <a:off x="9084766" y="3682586"/>
              <a:ext cx="1394860" cy="3761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1400" b="1" dirty="0"/>
                <a:t>Aldosterona</a:t>
              </a:r>
              <a:endParaRPr lang="es-ES" sz="1600" b="1" dirty="0"/>
            </a:p>
          </p:txBody>
        </p:sp>
        <p:sp>
          <p:nvSpPr>
            <p:cNvPr id="35" name="Rectángulo 34">
              <a:extLst>
                <a:ext uri="{FF2B5EF4-FFF2-40B4-BE49-F238E27FC236}">
                  <a16:creationId xmlns:a16="http://schemas.microsoft.com/office/drawing/2014/main" id="{A6FFFFAA-BEC6-8E73-7DD8-68FFB577F308}"/>
                </a:ext>
              </a:extLst>
            </p:cNvPr>
            <p:cNvSpPr/>
            <p:nvPr/>
          </p:nvSpPr>
          <p:spPr>
            <a:xfrm>
              <a:off x="7558501" y="3665533"/>
              <a:ext cx="1088135" cy="407401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1400" b="1" dirty="0"/>
                <a:t>AT1</a:t>
              </a:r>
              <a:endParaRPr lang="es-ES" sz="1600" b="1" dirty="0"/>
            </a:p>
          </p:txBody>
        </p:sp>
        <p:sp>
          <p:nvSpPr>
            <p:cNvPr id="36" name="Forma libre: forma 35">
              <a:extLst>
                <a:ext uri="{FF2B5EF4-FFF2-40B4-BE49-F238E27FC236}">
                  <a16:creationId xmlns:a16="http://schemas.microsoft.com/office/drawing/2014/main" id="{1669C382-4F1D-AE12-AA7F-D3D8FDD50EBD}"/>
                </a:ext>
              </a:extLst>
            </p:cNvPr>
            <p:cNvSpPr/>
            <p:nvPr/>
          </p:nvSpPr>
          <p:spPr>
            <a:xfrm flipV="1">
              <a:off x="2651751" y="4127490"/>
              <a:ext cx="1088136" cy="184607"/>
            </a:xfrm>
            <a:custGeom>
              <a:avLst/>
              <a:gdLst>
                <a:gd name="connsiteX0" fmla="*/ 0 w 1408176"/>
                <a:gd name="connsiteY0" fmla="*/ 274332 h 274332"/>
                <a:gd name="connsiteX1" fmla="*/ 640080 w 1408176"/>
                <a:gd name="connsiteY1" fmla="*/ 12 h 274332"/>
                <a:gd name="connsiteX2" fmla="*/ 1408176 w 1408176"/>
                <a:gd name="connsiteY2" fmla="*/ 265188 h 274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8176" h="274332">
                  <a:moveTo>
                    <a:pt x="0" y="274332"/>
                  </a:moveTo>
                  <a:cubicBezTo>
                    <a:pt x="202692" y="137934"/>
                    <a:pt x="405384" y="1536"/>
                    <a:pt x="640080" y="12"/>
                  </a:cubicBezTo>
                  <a:cubicBezTo>
                    <a:pt x="874776" y="-1512"/>
                    <a:pt x="1141476" y="131838"/>
                    <a:pt x="1408176" y="265188"/>
                  </a:cubicBezTo>
                </a:path>
              </a:pathLst>
            </a:custGeom>
            <a:noFill/>
            <a:ln w="28575">
              <a:solidFill>
                <a:schemeClr val="accent1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7" name="Forma libre: forma 36">
              <a:extLst>
                <a:ext uri="{FF2B5EF4-FFF2-40B4-BE49-F238E27FC236}">
                  <a16:creationId xmlns:a16="http://schemas.microsoft.com/office/drawing/2014/main" id="{317C961D-0EC6-F2AB-513C-9CC041D38F22}"/>
                </a:ext>
              </a:extLst>
            </p:cNvPr>
            <p:cNvSpPr/>
            <p:nvPr/>
          </p:nvSpPr>
          <p:spPr>
            <a:xfrm flipV="1">
              <a:off x="4777439" y="4132692"/>
              <a:ext cx="1088136" cy="184607"/>
            </a:xfrm>
            <a:custGeom>
              <a:avLst/>
              <a:gdLst>
                <a:gd name="connsiteX0" fmla="*/ 0 w 1408176"/>
                <a:gd name="connsiteY0" fmla="*/ 274332 h 274332"/>
                <a:gd name="connsiteX1" fmla="*/ 640080 w 1408176"/>
                <a:gd name="connsiteY1" fmla="*/ 12 h 274332"/>
                <a:gd name="connsiteX2" fmla="*/ 1408176 w 1408176"/>
                <a:gd name="connsiteY2" fmla="*/ 265188 h 274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8176" h="274332">
                  <a:moveTo>
                    <a:pt x="0" y="274332"/>
                  </a:moveTo>
                  <a:cubicBezTo>
                    <a:pt x="202692" y="137934"/>
                    <a:pt x="405384" y="1536"/>
                    <a:pt x="640080" y="12"/>
                  </a:cubicBezTo>
                  <a:cubicBezTo>
                    <a:pt x="874776" y="-1512"/>
                    <a:pt x="1141476" y="131838"/>
                    <a:pt x="1408176" y="265188"/>
                  </a:cubicBezTo>
                </a:path>
              </a:pathLst>
            </a:custGeom>
            <a:noFill/>
            <a:ln w="28575">
              <a:solidFill>
                <a:schemeClr val="accent1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8" name="Rectángulo 37">
              <a:extLst>
                <a:ext uri="{FF2B5EF4-FFF2-40B4-BE49-F238E27FC236}">
                  <a16:creationId xmlns:a16="http://schemas.microsoft.com/office/drawing/2014/main" id="{7268DFEE-7325-6CDA-09F8-873150B263CC}"/>
                </a:ext>
              </a:extLst>
            </p:cNvPr>
            <p:cNvSpPr/>
            <p:nvPr/>
          </p:nvSpPr>
          <p:spPr>
            <a:xfrm>
              <a:off x="2651751" y="4395428"/>
              <a:ext cx="1088136" cy="343062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1600" b="1" dirty="0">
                  <a:solidFill>
                    <a:schemeClr val="tx1">
                      <a:lumMod val="50000"/>
                    </a:schemeClr>
                  </a:solidFill>
                </a:rPr>
                <a:t>Renina</a:t>
              </a:r>
              <a:r>
                <a:rPr lang="es-ES_tradnl" dirty="0"/>
                <a:t> </a:t>
              </a:r>
              <a:endParaRPr lang="es-ES" dirty="0"/>
            </a:p>
          </p:txBody>
        </p:sp>
        <p:sp>
          <p:nvSpPr>
            <p:cNvPr id="39" name="Rectángulo 38">
              <a:extLst>
                <a:ext uri="{FF2B5EF4-FFF2-40B4-BE49-F238E27FC236}">
                  <a16:creationId xmlns:a16="http://schemas.microsoft.com/office/drawing/2014/main" id="{C6F86BEB-4D86-A1F6-87A7-F70C429B48CA}"/>
                </a:ext>
              </a:extLst>
            </p:cNvPr>
            <p:cNvSpPr/>
            <p:nvPr/>
          </p:nvSpPr>
          <p:spPr>
            <a:xfrm>
              <a:off x="4777439" y="4395428"/>
              <a:ext cx="1088136" cy="343062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1600" b="1" dirty="0">
                  <a:solidFill>
                    <a:schemeClr val="tx1">
                      <a:lumMod val="50000"/>
                    </a:schemeClr>
                  </a:solidFill>
                </a:rPr>
                <a:t>ECA</a:t>
              </a:r>
              <a:r>
                <a:rPr lang="es-ES_tradnl" dirty="0"/>
                <a:t> </a:t>
              </a:r>
              <a:endParaRPr lang="es-ES" dirty="0"/>
            </a:p>
          </p:txBody>
        </p:sp>
        <p:cxnSp>
          <p:nvCxnSpPr>
            <p:cNvPr id="40" name="Conector recto de flecha 39">
              <a:extLst>
                <a:ext uri="{FF2B5EF4-FFF2-40B4-BE49-F238E27FC236}">
                  <a16:creationId xmlns:a16="http://schemas.microsoft.com/office/drawing/2014/main" id="{9889FA5E-5251-6A2A-22EC-D80E23173B8E}"/>
                </a:ext>
              </a:extLst>
            </p:cNvPr>
            <p:cNvCxnSpPr/>
            <p:nvPr/>
          </p:nvCxnSpPr>
          <p:spPr>
            <a:xfrm>
              <a:off x="3055549" y="3868636"/>
              <a:ext cx="265176" cy="0"/>
            </a:xfrm>
            <a:prstGeom prst="straightConnector1">
              <a:avLst/>
            </a:prstGeom>
            <a:ln w="28575"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ector recto de flecha 40">
              <a:extLst>
                <a:ext uri="{FF2B5EF4-FFF2-40B4-BE49-F238E27FC236}">
                  <a16:creationId xmlns:a16="http://schemas.microsoft.com/office/drawing/2014/main" id="{1F856639-BBAB-2EA3-0F8A-592591DD0057}"/>
                </a:ext>
              </a:extLst>
            </p:cNvPr>
            <p:cNvCxnSpPr/>
            <p:nvPr/>
          </p:nvCxnSpPr>
          <p:spPr>
            <a:xfrm>
              <a:off x="5115971" y="3868636"/>
              <a:ext cx="265176" cy="0"/>
            </a:xfrm>
            <a:prstGeom prst="straightConnector1">
              <a:avLst/>
            </a:prstGeom>
            <a:ln w="28575"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Conector recto de flecha 41">
              <a:extLst>
                <a:ext uri="{FF2B5EF4-FFF2-40B4-BE49-F238E27FC236}">
                  <a16:creationId xmlns:a16="http://schemas.microsoft.com/office/drawing/2014/main" id="{27ED2185-055C-FDAE-664C-BE96592784F6}"/>
                </a:ext>
              </a:extLst>
            </p:cNvPr>
            <p:cNvCxnSpPr/>
            <p:nvPr/>
          </p:nvCxnSpPr>
          <p:spPr>
            <a:xfrm>
              <a:off x="7183847" y="3840522"/>
              <a:ext cx="265176" cy="0"/>
            </a:xfrm>
            <a:prstGeom prst="straightConnector1">
              <a:avLst/>
            </a:prstGeom>
            <a:ln w="28575"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Conector recto de flecha 42">
              <a:extLst>
                <a:ext uri="{FF2B5EF4-FFF2-40B4-BE49-F238E27FC236}">
                  <a16:creationId xmlns:a16="http://schemas.microsoft.com/office/drawing/2014/main" id="{DECAA4D7-1D97-EB9E-BD1B-E1C387287CFA}"/>
                </a:ext>
              </a:extLst>
            </p:cNvPr>
            <p:cNvCxnSpPr/>
            <p:nvPr/>
          </p:nvCxnSpPr>
          <p:spPr>
            <a:xfrm>
              <a:off x="8745964" y="3836792"/>
              <a:ext cx="265176" cy="0"/>
            </a:xfrm>
            <a:prstGeom prst="straightConnector1">
              <a:avLst/>
            </a:prstGeom>
            <a:ln w="28575"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ector recto de flecha 43">
              <a:extLst>
                <a:ext uri="{FF2B5EF4-FFF2-40B4-BE49-F238E27FC236}">
                  <a16:creationId xmlns:a16="http://schemas.microsoft.com/office/drawing/2014/main" id="{88FCDAB5-F19D-F04D-E195-205152EAA2C5}"/>
                </a:ext>
              </a:extLst>
            </p:cNvPr>
            <p:cNvCxnSpPr>
              <a:cxnSpLocks/>
            </p:cNvCxnSpPr>
            <p:nvPr/>
          </p:nvCxnSpPr>
          <p:spPr>
            <a:xfrm>
              <a:off x="9896914" y="4160806"/>
              <a:ext cx="0" cy="403673"/>
            </a:xfrm>
            <a:prstGeom prst="straightConnector1">
              <a:avLst/>
            </a:prstGeom>
            <a:ln w="28575"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tángulo 44">
              <a:extLst>
                <a:ext uri="{FF2B5EF4-FFF2-40B4-BE49-F238E27FC236}">
                  <a16:creationId xmlns:a16="http://schemas.microsoft.com/office/drawing/2014/main" id="{A077CAAC-C1ED-A5F0-1351-C23B25A3EF1F}"/>
                </a:ext>
              </a:extLst>
            </p:cNvPr>
            <p:cNvSpPr/>
            <p:nvPr/>
          </p:nvSpPr>
          <p:spPr>
            <a:xfrm>
              <a:off x="8986153" y="4644636"/>
              <a:ext cx="1803922" cy="639627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1600" b="1" dirty="0">
                  <a:solidFill>
                    <a:schemeClr val="tx1">
                      <a:lumMod val="50000"/>
                    </a:schemeClr>
                  </a:solidFill>
                </a:rPr>
                <a:t>Regulación de la presión arterial</a:t>
              </a:r>
              <a:endParaRPr lang="es-ES" sz="1600" b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cxnSp>
          <p:nvCxnSpPr>
            <p:cNvPr id="46" name="Conector recto 45">
              <a:extLst>
                <a:ext uri="{FF2B5EF4-FFF2-40B4-BE49-F238E27FC236}">
                  <a16:creationId xmlns:a16="http://schemas.microsoft.com/office/drawing/2014/main" id="{CC86628A-30BB-03D9-58C1-6883F1BA0E03}"/>
                </a:ext>
              </a:extLst>
            </p:cNvPr>
            <p:cNvCxnSpPr/>
            <p:nvPr/>
          </p:nvCxnSpPr>
          <p:spPr>
            <a:xfrm>
              <a:off x="5339437" y="4815319"/>
              <a:ext cx="0" cy="338328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Conector recto 46">
              <a:extLst>
                <a:ext uri="{FF2B5EF4-FFF2-40B4-BE49-F238E27FC236}">
                  <a16:creationId xmlns:a16="http://schemas.microsoft.com/office/drawing/2014/main" id="{AF54F7D9-5825-2E46-57F2-FEF392A712A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17556" y="4815319"/>
              <a:ext cx="243761" cy="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ector recto 47">
              <a:extLst>
                <a:ext uri="{FF2B5EF4-FFF2-40B4-BE49-F238E27FC236}">
                  <a16:creationId xmlns:a16="http://schemas.microsoft.com/office/drawing/2014/main" id="{10F3BA1B-CD4B-3ED2-EC90-66D6A1F5DC0E}"/>
                </a:ext>
              </a:extLst>
            </p:cNvPr>
            <p:cNvCxnSpPr>
              <a:cxnSpLocks/>
            </p:cNvCxnSpPr>
            <p:nvPr/>
          </p:nvCxnSpPr>
          <p:spPr>
            <a:xfrm>
              <a:off x="8129813" y="4127012"/>
              <a:ext cx="0" cy="338328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ector recto 48">
              <a:extLst>
                <a:ext uri="{FF2B5EF4-FFF2-40B4-BE49-F238E27FC236}">
                  <a16:creationId xmlns:a16="http://schemas.microsoft.com/office/drawing/2014/main" id="{0CEBCABF-3983-3341-664E-EB9AF6B8B85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007933" y="4127012"/>
              <a:ext cx="243761" cy="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Elipse 49">
              <a:extLst>
                <a:ext uri="{FF2B5EF4-FFF2-40B4-BE49-F238E27FC236}">
                  <a16:creationId xmlns:a16="http://schemas.microsoft.com/office/drawing/2014/main" id="{2F1B59EA-A7B6-EFC7-6476-117DB738A556}"/>
                </a:ext>
              </a:extLst>
            </p:cNvPr>
            <p:cNvSpPr/>
            <p:nvPr/>
          </p:nvSpPr>
          <p:spPr>
            <a:xfrm>
              <a:off x="4854246" y="5177115"/>
              <a:ext cx="1007443" cy="48072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1" name="Rectángulo 50">
              <a:extLst>
                <a:ext uri="{FF2B5EF4-FFF2-40B4-BE49-F238E27FC236}">
                  <a16:creationId xmlns:a16="http://schemas.microsoft.com/office/drawing/2014/main" id="{56F56377-F123-66C1-450D-431D80BC563C}"/>
                </a:ext>
              </a:extLst>
            </p:cNvPr>
            <p:cNvSpPr/>
            <p:nvPr/>
          </p:nvSpPr>
          <p:spPr>
            <a:xfrm>
              <a:off x="4813298" y="5257779"/>
              <a:ext cx="1088136" cy="3430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2000" b="1" dirty="0">
                  <a:solidFill>
                    <a:srgbClr val="FF0000"/>
                  </a:solidFill>
                </a:rPr>
                <a:t>IECA </a:t>
              </a:r>
              <a:endParaRPr lang="es-E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52" name="Rectángulo 51">
              <a:extLst>
                <a:ext uri="{FF2B5EF4-FFF2-40B4-BE49-F238E27FC236}">
                  <a16:creationId xmlns:a16="http://schemas.microsoft.com/office/drawing/2014/main" id="{931C57ED-3B43-AD5D-A39D-6CF34C3E9323}"/>
                </a:ext>
              </a:extLst>
            </p:cNvPr>
            <p:cNvSpPr/>
            <p:nvPr/>
          </p:nvSpPr>
          <p:spPr>
            <a:xfrm>
              <a:off x="7576781" y="4563927"/>
              <a:ext cx="1088136" cy="3430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2000" b="1" dirty="0">
                  <a:solidFill>
                    <a:srgbClr val="FF0000"/>
                  </a:solidFill>
                </a:rPr>
                <a:t>ARA -II</a:t>
              </a:r>
              <a:endParaRPr lang="es-ES" sz="2000" b="1" dirty="0">
                <a:solidFill>
                  <a:srgbClr val="FF0000"/>
                </a:solidFill>
              </a:endParaRPr>
            </a:p>
          </p:txBody>
        </p:sp>
      </p:grpSp>
      <p:sp>
        <p:nvSpPr>
          <p:cNvPr id="53" name="CuadroTexto 52">
            <a:extLst>
              <a:ext uri="{FF2B5EF4-FFF2-40B4-BE49-F238E27FC236}">
                <a16:creationId xmlns:a16="http://schemas.microsoft.com/office/drawing/2014/main" id="{74E6BABD-9B98-BB19-8F89-088EB35D71EB}"/>
              </a:ext>
            </a:extLst>
          </p:cNvPr>
          <p:cNvSpPr txBox="1"/>
          <p:nvPr/>
        </p:nvSpPr>
        <p:spPr>
          <a:xfrm>
            <a:off x="501583" y="1426944"/>
            <a:ext cx="7321739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700" b="1" dirty="0">
                <a:solidFill>
                  <a:schemeClr val="accent1"/>
                </a:solidFill>
              </a:rPr>
              <a:t>Moduladores del sistema Renina Angiotensina Aldosterona (SRAA)</a:t>
            </a:r>
          </a:p>
        </p:txBody>
      </p:sp>
      <p:sp>
        <p:nvSpPr>
          <p:cNvPr id="57" name="CuadroTexto 56">
            <a:extLst>
              <a:ext uri="{FF2B5EF4-FFF2-40B4-BE49-F238E27FC236}">
                <a16:creationId xmlns:a16="http://schemas.microsoft.com/office/drawing/2014/main" id="{A1419C53-E053-B9D9-B09E-83F4FE89C645}"/>
              </a:ext>
            </a:extLst>
          </p:cNvPr>
          <p:cNvSpPr txBox="1"/>
          <p:nvPr/>
        </p:nvSpPr>
        <p:spPr>
          <a:xfrm>
            <a:off x="1492003" y="5444889"/>
            <a:ext cx="3439520" cy="276999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accent1"/>
                </a:solidFill>
              </a:defRPr>
            </a:lvl1pPr>
          </a:lstStyle>
          <a:p>
            <a:r>
              <a:rPr lang="es-ES_tradnl" sz="900" b="1" dirty="0"/>
              <a:t>Figura</a:t>
            </a:r>
            <a:r>
              <a:rPr lang="es-ES_tradnl" sz="900" dirty="0"/>
              <a:t>: elaboración propia a partir de: </a:t>
            </a:r>
            <a:r>
              <a:rPr lang="sv-SE" sz="900" dirty="0"/>
              <a:t>Curr Hypertens Rep. 2023 Sep;25(9):243-250 y Curr Drug Targets. 2009 Jan;10(1):20-5. </a:t>
            </a:r>
            <a:endParaRPr lang="es-ES" sz="900" dirty="0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6B998B75-B98D-2E5C-BE63-C20E9222E3CE}"/>
              </a:ext>
            </a:extLst>
          </p:cNvPr>
          <p:cNvSpPr txBox="1"/>
          <p:nvPr/>
        </p:nvSpPr>
        <p:spPr>
          <a:xfrm rot="16200000">
            <a:off x="10584462" y="3677419"/>
            <a:ext cx="25370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0</a:t>
            </a:r>
            <a:endParaRPr lang="es-ES" sz="12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8233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E38179-BFDB-10D0-F5A7-BB1C4BCE87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55F20E7E-F439-16D7-0EEA-D073866313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32953" y="2636971"/>
            <a:ext cx="4490414" cy="2982779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54EC8BB2-0C00-10B4-0876-5B492E96890F}"/>
              </a:ext>
            </a:extLst>
          </p:cNvPr>
          <p:cNvSpPr txBox="1"/>
          <p:nvPr/>
        </p:nvSpPr>
        <p:spPr>
          <a:xfrm>
            <a:off x="1833919" y="6175309"/>
            <a:ext cx="8591551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b="1" dirty="0"/>
              <a:t>1</a:t>
            </a:r>
            <a:r>
              <a:rPr lang="en-US" dirty="0"/>
              <a:t>. Martin SS, et al. 2025 Heart Disease and Stroke Statistics: A Report of US and Global Data From the American Heart Association. </a:t>
            </a:r>
            <a:r>
              <a:rPr lang="pt-BR" dirty="0" err="1"/>
              <a:t>Circulation</a:t>
            </a:r>
            <a:r>
              <a:rPr lang="pt-BR" dirty="0"/>
              <a:t>. 2025 </a:t>
            </a:r>
            <a:r>
              <a:rPr lang="pt-BR" dirty="0" err="1"/>
              <a:t>Feb</a:t>
            </a:r>
            <a:r>
              <a:rPr lang="pt-BR" dirty="0"/>
              <a:t> 25;151(8):e41-e660. </a:t>
            </a:r>
            <a:r>
              <a:rPr lang="pt-BR" b="1" dirty="0"/>
              <a:t>2</a:t>
            </a:r>
            <a:r>
              <a:rPr lang="pt-BR" dirty="0"/>
              <a:t>. </a:t>
            </a:r>
            <a:r>
              <a:rPr lang="en-US" dirty="0"/>
              <a:t>Whelton PK, et al. Research Needs to Improve Hypertension Treatment and Control in African Americans. Hypertension. 2016 November ; 68(5): 1066–1072. </a:t>
            </a:r>
            <a:r>
              <a:rPr lang="pt-BR" b="1" dirty="0"/>
              <a:t>3</a:t>
            </a:r>
            <a:r>
              <a:rPr lang="pt-BR" dirty="0"/>
              <a:t>. </a:t>
            </a:r>
            <a:r>
              <a:rPr lang="en-US" dirty="0" err="1"/>
              <a:t>Muntner</a:t>
            </a:r>
            <a:r>
              <a:rPr lang="en-US" dirty="0"/>
              <a:t> P, et al. Hypertension in African Americans: Unanswered Questions and Future Directions for the Jackson Heart Study. Hypertension. 2017 May ; 69(5): 761–769.</a:t>
            </a:r>
            <a:endParaRPr lang="es-ES" dirty="0"/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F882A392-4260-AE7C-58C0-2B793A547061}"/>
              </a:ext>
            </a:extLst>
          </p:cNvPr>
          <p:cNvSpPr txBox="1"/>
          <p:nvPr/>
        </p:nvSpPr>
        <p:spPr>
          <a:xfrm>
            <a:off x="552474" y="3898480"/>
            <a:ext cx="5795531" cy="64633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accent3"/>
                </a:solidFill>
              </a:defRPr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accent1"/>
                </a:solidFill>
              </a:rPr>
              <a:t>En personas de raza </a:t>
            </a:r>
            <a:r>
              <a:rPr lang="en-US" sz="1400" dirty="0" err="1">
                <a:solidFill>
                  <a:schemeClr val="accent1"/>
                </a:solidFill>
              </a:rPr>
              <a:t>negra</a:t>
            </a:r>
            <a:r>
              <a:rPr lang="en-US" sz="1400" dirty="0">
                <a:solidFill>
                  <a:schemeClr val="accent1"/>
                </a:solidFill>
              </a:rPr>
              <a:t> sin </a:t>
            </a:r>
            <a:r>
              <a:rPr lang="en-US" sz="1400" dirty="0" err="1">
                <a:solidFill>
                  <a:schemeClr val="accent1"/>
                </a:solidFill>
              </a:rPr>
              <a:t>hipertensión</a:t>
            </a:r>
            <a:r>
              <a:rPr lang="en-US" sz="1400" dirty="0">
                <a:solidFill>
                  <a:schemeClr val="accent1"/>
                </a:solidFill>
              </a:rPr>
              <a:t> de base, la </a:t>
            </a:r>
            <a:r>
              <a:rPr lang="en-US" sz="1400" dirty="0" err="1">
                <a:solidFill>
                  <a:schemeClr val="accent1"/>
                </a:solidFill>
              </a:rPr>
              <a:t>exposición</a:t>
            </a:r>
            <a:r>
              <a:rPr lang="en-US" sz="1400" dirty="0">
                <a:solidFill>
                  <a:schemeClr val="accent1"/>
                </a:solidFill>
              </a:rPr>
              <a:t> a la </a:t>
            </a:r>
            <a:r>
              <a:rPr lang="en-US" sz="1400" dirty="0" err="1">
                <a:solidFill>
                  <a:schemeClr val="accent1"/>
                </a:solidFill>
              </a:rPr>
              <a:t>discriminación</a:t>
            </a:r>
            <a:r>
              <a:rPr lang="en-US" sz="1400" dirty="0">
                <a:solidFill>
                  <a:schemeClr val="accent1"/>
                </a:solidFill>
              </a:rPr>
              <a:t> social </a:t>
            </a:r>
            <a:r>
              <a:rPr lang="en-US" sz="1400" dirty="0" err="1">
                <a:solidFill>
                  <a:schemeClr val="accent1"/>
                </a:solidFill>
              </a:rPr>
              <a:t>alta</a:t>
            </a:r>
            <a:r>
              <a:rPr lang="en-US" sz="1400" dirty="0">
                <a:solidFill>
                  <a:schemeClr val="accent1"/>
                </a:solidFill>
              </a:rPr>
              <a:t> (HR, 1.49) vs baja (HR, 1.34) a lo largo de la </a:t>
            </a:r>
            <a:r>
              <a:rPr lang="en-US" sz="1400" dirty="0" err="1">
                <a:solidFill>
                  <a:schemeClr val="accent1"/>
                </a:solidFill>
              </a:rPr>
              <a:t>vida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s-ES" sz="1400" dirty="0">
                <a:solidFill>
                  <a:schemeClr val="accent1"/>
                </a:solidFill>
              </a:rPr>
              <a:t>se asoció con un mayor riesgo de hipertensión incidente</a:t>
            </a:r>
            <a:r>
              <a:rPr lang="en-US" sz="1400" baseline="30000" dirty="0">
                <a:solidFill>
                  <a:schemeClr val="accent1"/>
                </a:solidFill>
              </a:rPr>
              <a:t>1</a:t>
            </a:r>
            <a:r>
              <a:rPr lang="es-ES" sz="1400" dirty="0">
                <a:solidFill>
                  <a:schemeClr val="accent1"/>
                </a:solidFill>
              </a:rPr>
              <a:t>.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09D78A34-9759-CC56-8FDE-9A0032BE02A8}"/>
              </a:ext>
            </a:extLst>
          </p:cNvPr>
          <p:cNvSpPr txBox="1"/>
          <p:nvPr/>
        </p:nvSpPr>
        <p:spPr>
          <a:xfrm>
            <a:off x="552474" y="4834622"/>
            <a:ext cx="5795531" cy="64633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L="285750" marR="0" indent="-28575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b="0" baseline="0">
                <a:solidFill>
                  <a:schemeClr val="accent3"/>
                </a:solidFill>
              </a:defRPr>
            </a:lvl1pPr>
          </a:lstStyle>
          <a:p>
            <a:r>
              <a:rPr lang="es-ES" sz="1400" dirty="0">
                <a:solidFill>
                  <a:schemeClr val="accent1"/>
                </a:solidFill>
              </a:rPr>
              <a:t>En un análisis del estudio de JHS de personas de raza negras, el nivel s</a:t>
            </a:r>
            <a:r>
              <a:rPr lang="en-US" sz="1400" dirty="0" err="1">
                <a:solidFill>
                  <a:schemeClr val="accent1"/>
                </a:solidFill>
              </a:rPr>
              <a:t>ocioeconómicos</a:t>
            </a:r>
            <a:r>
              <a:rPr lang="en-US" sz="1400" dirty="0">
                <a:solidFill>
                  <a:schemeClr val="accent1"/>
                </a:solidFill>
              </a:rPr>
              <a:t> (</a:t>
            </a:r>
            <a:r>
              <a:rPr lang="es-ES" sz="1400" dirty="0">
                <a:solidFill>
                  <a:schemeClr val="accent1"/>
                </a:solidFill>
              </a:rPr>
              <a:t>NSE) baja se asoció con una mayor prevalencia de hipertensión en comparación con NSE alto</a:t>
            </a:r>
            <a:r>
              <a:rPr lang="en-US" sz="1400" baseline="30000" dirty="0">
                <a:solidFill>
                  <a:schemeClr val="accent1"/>
                </a:solidFill>
              </a:rPr>
              <a:t>1</a:t>
            </a:r>
            <a:r>
              <a:rPr lang="es-ES" sz="1400" dirty="0">
                <a:solidFill>
                  <a:schemeClr val="accent1"/>
                </a:solidFill>
              </a:rPr>
              <a:t>. 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381C905E-4286-21FD-2B0B-E9228C930951}"/>
              </a:ext>
            </a:extLst>
          </p:cNvPr>
          <p:cNvSpPr txBox="1"/>
          <p:nvPr/>
        </p:nvSpPr>
        <p:spPr>
          <a:xfrm>
            <a:off x="6738591" y="2091477"/>
            <a:ext cx="468477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400" b="1" i="0" u="none" strike="noStrike" baseline="0">
                <a:solidFill>
                  <a:srgbClr val="000000"/>
                </a:solidFill>
                <a:latin typeface="Akzidenz Grotesk BE Bold"/>
              </a:defRPr>
            </a:lvl1pPr>
          </a:lstStyle>
          <a:p>
            <a:r>
              <a:rPr lang="es-ES" dirty="0"/>
              <a:t>Grado de concienciación, tratamiento y control de la hipertensión arterial, por raza y etnia, EE.UU</a:t>
            </a:r>
            <a:r>
              <a:rPr lang="en-US" sz="1400" baseline="30000" dirty="0">
                <a:solidFill>
                  <a:schemeClr val="accent1"/>
                </a:solidFill>
              </a:rPr>
              <a:t>1</a:t>
            </a:r>
            <a:r>
              <a:rPr lang="en-US" dirty="0"/>
              <a:t> </a:t>
            </a:r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053C08B3-340F-69A9-FD9E-8E36103A6408}"/>
              </a:ext>
            </a:extLst>
          </p:cNvPr>
          <p:cNvSpPr txBox="1"/>
          <p:nvPr/>
        </p:nvSpPr>
        <p:spPr>
          <a:xfrm>
            <a:off x="552474" y="1465303"/>
            <a:ext cx="10939369" cy="43088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accent3"/>
                </a:solidFill>
              </a:defRPr>
            </a:lvl1pPr>
          </a:lstStyle>
          <a:p>
            <a:r>
              <a:rPr lang="en-US" sz="1400" dirty="0">
                <a:solidFill>
                  <a:schemeClr val="accent1"/>
                </a:solidFill>
              </a:rPr>
              <a:t>A </a:t>
            </a:r>
            <a:r>
              <a:rPr lang="en-US" sz="1400" dirty="0" err="1">
                <a:solidFill>
                  <a:schemeClr val="accent1"/>
                </a:solidFill>
              </a:rPr>
              <a:t>pesar</a:t>
            </a:r>
            <a:r>
              <a:rPr lang="en-US" sz="1400" dirty="0">
                <a:solidFill>
                  <a:schemeClr val="accent1"/>
                </a:solidFill>
              </a:rPr>
              <a:t> de que la </a:t>
            </a:r>
            <a:r>
              <a:rPr lang="en-US" sz="1400" dirty="0" err="1">
                <a:solidFill>
                  <a:schemeClr val="accent1"/>
                </a:solidFill>
              </a:rPr>
              <a:t>etnicidad</a:t>
            </a:r>
            <a:r>
              <a:rPr lang="en-US" sz="1400" dirty="0">
                <a:solidFill>
                  <a:schemeClr val="accent1"/>
                </a:solidFill>
              </a:rPr>
              <a:t>/raza </a:t>
            </a:r>
            <a:r>
              <a:rPr lang="en-US" sz="1400" dirty="0" err="1">
                <a:solidFill>
                  <a:schemeClr val="accent1"/>
                </a:solidFill>
              </a:rPr>
              <a:t>negra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tiene</a:t>
            </a:r>
            <a:r>
              <a:rPr lang="en-US" sz="1400" dirty="0">
                <a:solidFill>
                  <a:schemeClr val="accent1"/>
                </a:solidFill>
              </a:rPr>
              <a:t> la mayor </a:t>
            </a:r>
            <a:r>
              <a:rPr lang="en-US" sz="1400" dirty="0" err="1">
                <a:solidFill>
                  <a:schemeClr val="accent1"/>
                </a:solidFill>
              </a:rPr>
              <a:t>conciencia</a:t>
            </a:r>
            <a:r>
              <a:rPr lang="en-US" sz="1400" dirty="0">
                <a:solidFill>
                  <a:schemeClr val="accent1"/>
                </a:solidFill>
              </a:rPr>
              <a:t> y </a:t>
            </a:r>
            <a:r>
              <a:rPr lang="en-US" sz="1400" dirty="0" err="1">
                <a:solidFill>
                  <a:schemeClr val="accent1"/>
                </a:solidFill>
              </a:rPr>
              <a:t>mayores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niveles</a:t>
            </a:r>
            <a:r>
              <a:rPr lang="en-US" sz="1400" dirty="0">
                <a:solidFill>
                  <a:schemeClr val="accent1"/>
                </a:solidFill>
              </a:rPr>
              <a:t> de </a:t>
            </a:r>
            <a:r>
              <a:rPr lang="en-US" sz="1400" dirty="0" err="1">
                <a:solidFill>
                  <a:schemeClr val="accent1"/>
                </a:solidFill>
              </a:rPr>
              <a:t>tratamientos</a:t>
            </a:r>
            <a:r>
              <a:rPr lang="en-US" sz="1400" dirty="0">
                <a:solidFill>
                  <a:schemeClr val="accent1"/>
                </a:solidFill>
              </a:rPr>
              <a:t> para la hipertensión</a:t>
            </a:r>
            <a:r>
              <a:rPr lang="en-US" sz="1400" baseline="30000" dirty="0">
                <a:solidFill>
                  <a:schemeClr val="accent1"/>
                </a:solidFill>
              </a:rPr>
              <a:t>1,2</a:t>
            </a:r>
            <a:r>
              <a:rPr lang="en-US" sz="1400" dirty="0">
                <a:solidFill>
                  <a:schemeClr val="accent1"/>
                </a:solidFill>
              </a:rPr>
              <a:t>, la </a:t>
            </a:r>
            <a:r>
              <a:rPr lang="en-US" sz="1400" dirty="0" err="1">
                <a:solidFill>
                  <a:schemeClr val="accent1"/>
                </a:solidFill>
              </a:rPr>
              <a:t>presión</a:t>
            </a:r>
            <a:r>
              <a:rPr lang="en-US" sz="1400" dirty="0">
                <a:solidFill>
                  <a:schemeClr val="accent1"/>
                </a:solidFill>
              </a:rPr>
              <a:t> arterial </a:t>
            </a:r>
            <a:r>
              <a:rPr lang="en-US" sz="1400" dirty="0" err="1">
                <a:solidFill>
                  <a:schemeClr val="accent1"/>
                </a:solidFill>
              </a:rPr>
              <a:t>controlada</a:t>
            </a:r>
            <a:r>
              <a:rPr lang="en-US" sz="1400" dirty="0">
                <a:solidFill>
                  <a:schemeClr val="accent1"/>
                </a:solidFill>
              </a:rPr>
              <a:t> ere </a:t>
            </a:r>
            <a:r>
              <a:rPr lang="en-US" sz="1400" dirty="0" err="1">
                <a:solidFill>
                  <a:schemeClr val="accent1"/>
                </a:solidFill>
              </a:rPr>
              <a:t>menos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prevalente</a:t>
            </a:r>
            <a:r>
              <a:rPr lang="en-US" sz="1400" dirty="0">
                <a:solidFill>
                  <a:schemeClr val="accent1"/>
                </a:solidFill>
              </a:rPr>
              <a:t> entre las personas de raza </a:t>
            </a:r>
            <a:r>
              <a:rPr lang="en-US" sz="1400" dirty="0" err="1">
                <a:solidFill>
                  <a:schemeClr val="accent1"/>
                </a:solidFill>
              </a:rPr>
              <a:t>negra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en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comparación</a:t>
            </a:r>
            <a:r>
              <a:rPr lang="en-US" sz="1400" dirty="0">
                <a:solidFill>
                  <a:schemeClr val="accent1"/>
                </a:solidFill>
              </a:rPr>
              <a:t> con las personas de raza blanca</a:t>
            </a:r>
            <a:r>
              <a:rPr lang="en-US" sz="1400" baseline="30000" dirty="0">
                <a:solidFill>
                  <a:schemeClr val="accent1"/>
                </a:solidFill>
              </a:rPr>
              <a:t>1</a:t>
            </a:r>
            <a:r>
              <a:rPr lang="en-US" sz="1400" dirty="0">
                <a:solidFill>
                  <a:schemeClr val="accent1"/>
                </a:solidFill>
              </a:rPr>
              <a:t>. </a:t>
            </a:r>
            <a:endParaRPr lang="es-ES" sz="1400" dirty="0">
              <a:solidFill>
                <a:schemeClr val="accent1"/>
              </a:solidFill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919AF1CD-E9D4-E96E-43E8-FA999EC72010}"/>
              </a:ext>
            </a:extLst>
          </p:cNvPr>
          <p:cNvSpPr txBox="1"/>
          <p:nvPr/>
        </p:nvSpPr>
        <p:spPr>
          <a:xfrm>
            <a:off x="552475" y="2407941"/>
            <a:ext cx="5701045" cy="43088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accent3"/>
                </a:solidFill>
              </a:defRPr>
            </a:lvl1pPr>
          </a:lstStyle>
          <a:p>
            <a:r>
              <a:rPr lang="en-US" sz="1400" dirty="0" err="1">
                <a:solidFill>
                  <a:schemeClr val="accent1"/>
                </a:solidFill>
              </a:rPr>
              <a:t>Factores</a:t>
            </a:r>
            <a:r>
              <a:rPr lang="en-US" sz="1400" dirty="0">
                <a:solidFill>
                  <a:schemeClr val="accent1"/>
                </a:solidFill>
              </a:rPr>
              <a:t> que </a:t>
            </a:r>
            <a:r>
              <a:rPr lang="en-US" sz="1400" dirty="0" err="1">
                <a:solidFill>
                  <a:schemeClr val="accent1"/>
                </a:solidFill>
              </a:rPr>
              <a:t>influyen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en</a:t>
            </a:r>
            <a:r>
              <a:rPr lang="en-US" sz="1400" dirty="0">
                <a:solidFill>
                  <a:schemeClr val="accent1"/>
                </a:solidFill>
              </a:rPr>
              <a:t> la </a:t>
            </a:r>
            <a:r>
              <a:rPr lang="en-US" sz="1400" dirty="0" err="1">
                <a:solidFill>
                  <a:schemeClr val="accent1"/>
                </a:solidFill>
              </a:rPr>
              <a:t>prevalencia</a:t>
            </a:r>
            <a:r>
              <a:rPr lang="en-US" sz="1400" dirty="0">
                <a:solidFill>
                  <a:schemeClr val="accent1"/>
                </a:solidFill>
              </a:rPr>
              <a:t> y control de la </a:t>
            </a:r>
            <a:r>
              <a:rPr lang="en-US" sz="1400" dirty="0" err="1">
                <a:solidFill>
                  <a:schemeClr val="accent1"/>
                </a:solidFill>
              </a:rPr>
              <a:t>hipertensión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en</a:t>
            </a:r>
            <a:r>
              <a:rPr lang="en-US" sz="1400" dirty="0">
                <a:solidFill>
                  <a:schemeClr val="accent1"/>
                </a:solidFill>
              </a:rPr>
              <a:t> personas de raza Negra: </a:t>
            </a:r>
            <a:endParaRPr lang="es-ES" sz="1400" dirty="0">
              <a:solidFill>
                <a:schemeClr val="accent1"/>
              </a:solidFill>
            </a:endParaRPr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A040C92A-8B98-0C26-0851-9FE0C62C39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C3FA2344-3437-0376-2907-89A3BB7741F0}"/>
              </a:ext>
            </a:extLst>
          </p:cNvPr>
          <p:cNvSpPr txBox="1">
            <a:spLocks/>
          </p:cNvSpPr>
          <p:nvPr/>
        </p:nvSpPr>
        <p:spPr>
          <a:xfrm>
            <a:off x="394955" y="160786"/>
            <a:ext cx="11473957" cy="46721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vert="horz" lIns="0" tIns="0" rIns="0" bIns="0" rtlCol="0" anchor="ctr">
            <a:normAutofit/>
          </a:bodyPr>
          <a:lstStyle>
            <a:defPPr>
              <a:defRPr lang="es-ES"/>
            </a:defPPr>
            <a:lvl1pPr marR="0" indent="0" defTabSz="91433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/>
              <a:t>Factores de riesgo cardiovascular </a:t>
            </a:r>
            <a:r>
              <a:rPr lang="es-ES" sz="2400" dirty="0"/>
              <a:t>y su manejo en raza negra:</a:t>
            </a:r>
            <a:endParaRPr lang="es-ES" dirty="0"/>
          </a:p>
        </p:txBody>
      </p:sp>
      <p:sp>
        <p:nvSpPr>
          <p:cNvPr id="14" name="Título 1">
            <a:extLst>
              <a:ext uri="{FF2B5EF4-FFF2-40B4-BE49-F238E27FC236}">
                <a16:creationId xmlns:a16="http://schemas.microsoft.com/office/drawing/2014/main" id="{42808524-438E-BC51-4804-F29886C0D71B}"/>
              </a:ext>
            </a:extLst>
          </p:cNvPr>
          <p:cNvSpPr txBox="1">
            <a:spLocks/>
          </p:cNvSpPr>
          <p:nvPr/>
        </p:nvSpPr>
        <p:spPr>
          <a:xfrm>
            <a:off x="394955" y="628006"/>
            <a:ext cx="11473957" cy="516524"/>
          </a:xfrm>
          <a:prstGeom prst="rect">
            <a:avLst/>
          </a:prstGeom>
          <a:solidFill>
            <a:srgbClr val="F0D5FF"/>
          </a:solidFill>
        </p:spPr>
        <p:txBody>
          <a:bodyPr vert="horz" lIns="0" tIns="0" rIns="0" bIns="0" rtlCol="0" anchor="ctr">
            <a:normAutofit/>
          </a:bodyPr>
          <a:lstStyle>
            <a:defPPr>
              <a:defRPr lang="es-ES"/>
            </a:defPPr>
            <a:lvl1pPr marR="0" indent="0" defTabSz="91433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/>
              <a:t>Presión arterial elevada e hipertensión arterial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6B97A2D1-ACF7-5061-F379-752B68BDF383}"/>
              </a:ext>
            </a:extLst>
          </p:cNvPr>
          <p:cNvSpPr txBox="1"/>
          <p:nvPr/>
        </p:nvSpPr>
        <p:spPr>
          <a:xfrm>
            <a:off x="552474" y="3197962"/>
            <a:ext cx="5946937" cy="43088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L="285750" marR="0" indent="-28575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as personas afroamericanas tienen menor adherencia a la medicación antihipertensiva en comparación con otros grupos raciales/étnicos</a:t>
            </a:r>
            <a:r>
              <a:rPr lang="es-ES" baseline="30000" dirty="0"/>
              <a:t>3</a:t>
            </a:r>
            <a:r>
              <a:rPr lang="es-ES" dirty="0"/>
              <a:t>.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B10A8BC0-3898-E889-5671-8E1BE8663643}"/>
              </a:ext>
            </a:extLst>
          </p:cNvPr>
          <p:cNvSpPr txBox="1"/>
          <p:nvPr/>
        </p:nvSpPr>
        <p:spPr>
          <a:xfrm>
            <a:off x="6901552" y="5642024"/>
            <a:ext cx="4590291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pt-BR" dirty="0" err="1"/>
              <a:t>Circulation</a:t>
            </a:r>
            <a:r>
              <a:rPr lang="pt-BR" dirty="0"/>
              <a:t>. 2025 </a:t>
            </a:r>
            <a:r>
              <a:rPr lang="pt-BR" dirty="0" err="1"/>
              <a:t>Feb</a:t>
            </a:r>
            <a:r>
              <a:rPr lang="pt-BR" dirty="0"/>
              <a:t> 25;151(8):e41-e660</a:t>
            </a:r>
            <a:endParaRPr lang="es-ES" dirty="0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45AEAA42-42E8-F5DB-183B-CD1BA6D3F9AC}"/>
              </a:ext>
            </a:extLst>
          </p:cNvPr>
          <p:cNvSpPr txBox="1"/>
          <p:nvPr/>
        </p:nvSpPr>
        <p:spPr>
          <a:xfrm rot="16200000">
            <a:off x="10584462" y="3677419"/>
            <a:ext cx="25370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0</a:t>
            </a:r>
            <a:endParaRPr lang="es-ES" sz="12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0214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B95C8995-159C-690A-525E-CFA271E1B3D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547"/>
          <a:stretch/>
        </p:blipFill>
        <p:spPr>
          <a:xfrm>
            <a:off x="1296508" y="2051826"/>
            <a:ext cx="9598984" cy="2651019"/>
          </a:xfrm>
          <a:prstGeom prst="rect">
            <a:avLst/>
          </a:prstGeom>
        </p:spPr>
      </p:pic>
      <p:sp>
        <p:nvSpPr>
          <p:cNvPr id="5" name="Título 1">
            <a:extLst>
              <a:ext uri="{FF2B5EF4-FFF2-40B4-BE49-F238E27FC236}">
                <a16:creationId xmlns:a16="http://schemas.microsoft.com/office/drawing/2014/main" id="{F431F079-0250-C16F-7AC1-661A1C65F420}"/>
              </a:ext>
            </a:extLst>
          </p:cNvPr>
          <p:cNvSpPr txBox="1">
            <a:spLocks/>
          </p:cNvSpPr>
          <p:nvPr/>
        </p:nvSpPr>
        <p:spPr>
          <a:xfrm>
            <a:off x="394955" y="160786"/>
            <a:ext cx="11473957" cy="46721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dirty="0"/>
              <a:t>Factores de riesgo cardiovascular y su manejo en raza negra: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6D8DC983-4800-0C96-7ACF-29E69C4C3620}"/>
              </a:ext>
            </a:extLst>
          </p:cNvPr>
          <p:cNvSpPr txBox="1">
            <a:spLocks/>
          </p:cNvSpPr>
          <p:nvPr/>
        </p:nvSpPr>
        <p:spPr>
          <a:xfrm>
            <a:off x="394955" y="628006"/>
            <a:ext cx="11473957" cy="516524"/>
          </a:xfrm>
          <a:prstGeom prst="rect">
            <a:avLst/>
          </a:prstGeom>
          <a:solidFill>
            <a:srgbClr val="F0D5FF"/>
          </a:solidFill>
        </p:spPr>
        <p:txBody>
          <a:bodyPr vert="horz" lIns="0" tIns="0" rIns="0" bIns="0" rtlCol="0" anchor="ctr">
            <a:normAutofit/>
          </a:bodyPr>
          <a:lstStyle>
            <a:defPPr>
              <a:defRPr lang="es-ES"/>
            </a:defPPr>
            <a:lvl1pPr marR="0" indent="0" defTabSz="91433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/>
              <a:t>Presión arterial elevada e hipertensión arterial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0A75A06D-02DD-F69C-F1CD-7BC0D3A67359}"/>
              </a:ext>
            </a:extLst>
          </p:cNvPr>
          <p:cNvSpPr txBox="1"/>
          <p:nvPr/>
        </p:nvSpPr>
        <p:spPr>
          <a:xfrm>
            <a:off x="1296508" y="1559383"/>
            <a:ext cx="6105004" cy="492443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600" b="1" baseline="0" noProof="0" dirty="0">
                <a:solidFill>
                  <a:schemeClr val="accent1"/>
                </a:solidFill>
              </a:defRPr>
            </a:lvl1pPr>
          </a:lstStyle>
          <a:p>
            <a:r>
              <a:rPr lang="es-ES" dirty="0" err="1"/>
              <a:t>Resúmen</a:t>
            </a:r>
            <a:r>
              <a:rPr lang="es-ES" dirty="0"/>
              <a:t> de los factores sociales, clínicos y biológicos que influyen en el control de la hipertensión arterial</a:t>
            </a:r>
            <a:r>
              <a:rPr lang="es-ES" baseline="30000" dirty="0"/>
              <a:t>1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71D0D506-CC2C-E1C7-D910-2A4D2950EA02}"/>
              </a:ext>
            </a:extLst>
          </p:cNvPr>
          <p:cNvSpPr txBox="1"/>
          <p:nvPr/>
        </p:nvSpPr>
        <p:spPr>
          <a:xfrm>
            <a:off x="1660151" y="5773153"/>
            <a:ext cx="8372475" cy="70788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dirty="0"/>
              <a:t>1. </a:t>
            </a:r>
            <a:r>
              <a:rPr lang="en-US" b="0" dirty="0" err="1"/>
              <a:t>Abrahamowicz</a:t>
            </a:r>
            <a:r>
              <a:rPr lang="en-US" b="0" dirty="0"/>
              <a:t> AA, et al. Curr </a:t>
            </a:r>
            <a:r>
              <a:rPr lang="en-US" b="0" dirty="0" err="1"/>
              <a:t>Cardiol</a:t>
            </a:r>
            <a:r>
              <a:rPr lang="en-US" b="0" dirty="0"/>
              <a:t> Rep. 2023 Jan 9;25(1):17–27. Racial and Ethnic Disparities in Hypertension: Barriers and Opportunities to Improve Blood Pressure Control. </a:t>
            </a:r>
            <a:r>
              <a:rPr lang="en-US" dirty="0"/>
              <a:t>2</a:t>
            </a:r>
            <a:r>
              <a:rPr lang="en-US" b="0" dirty="0"/>
              <a:t>. Martin SS, et al. 2025 Heart Disease and Stroke Statistics: A Report of US and Global Data From the American Heart Association. Circulation. 2025 Feb 25;151(8):e41-e660.</a:t>
            </a:r>
            <a:r>
              <a:rPr lang="en-US" dirty="0"/>
              <a:t> 3</a:t>
            </a:r>
            <a:r>
              <a:rPr lang="en-US" b="0" dirty="0"/>
              <a:t>. McEvoy JW, et al. 2024 ESC Guidelines for the management of elevated blood pressure and hypertension. European Heart Journal (2024) 00, 1–107 https://doi.org/10.1093/eurheartj/ehae178. </a:t>
            </a:r>
            <a:r>
              <a:rPr lang="en-US" dirty="0"/>
              <a:t>4</a:t>
            </a:r>
            <a:r>
              <a:rPr lang="en-US" b="0" dirty="0"/>
              <a:t>. </a:t>
            </a:r>
            <a:r>
              <a:rPr lang="en-US" b="0" dirty="0" err="1"/>
              <a:t>Muntner</a:t>
            </a:r>
            <a:r>
              <a:rPr lang="en-US" b="0" dirty="0"/>
              <a:t> P, et al. Hypertension in African Americans: Unanswered Questions and Future Directions for the Jackson Heart Study. Hypertension. 2017 May ; 69(5): 761–769. doi:10.1161/HYPERTENSIONAHA.117.09061. 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85F701F9-1C5D-0F6F-FCA6-0B1D1D5AD124}"/>
              </a:ext>
            </a:extLst>
          </p:cNvPr>
          <p:cNvSpPr txBox="1"/>
          <p:nvPr/>
        </p:nvSpPr>
        <p:spPr>
          <a:xfrm>
            <a:off x="1296508" y="5103501"/>
            <a:ext cx="9598984" cy="43088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os afroamericanos están desproporcionadamente expuestos a factores sociales</a:t>
            </a:r>
            <a:r>
              <a:rPr lang="es-ES" baseline="30000" dirty="0"/>
              <a:t>1-4</a:t>
            </a:r>
            <a:r>
              <a:rPr lang="es-ES" dirty="0"/>
              <a:t>, clínicos</a:t>
            </a:r>
            <a:r>
              <a:rPr lang="es-ES" baseline="30000" dirty="0"/>
              <a:t>1</a:t>
            </a:r>
            <a:r>
              <a:rPr lang="es-ES" dirty="0"/>
              <a:t> y biológicos</a:t>
            </a:r>
            <a:r>
              <a:rPr lang="es-ES" baseline="30000" dirty="0"/>
              <a:t>1</a:t>
            </a:r>
            <a:r>
              <a:rPr lang="es-ES" dirty="0"/>
              <a:t> que afectan directamente al desarrollo y la evolución de la hipertensión arterial y otros factores de riesgo cardiovascular</a:t>
            </a:r>
            <a:r>
              <a:rPr lang="es-ES" baseline="30000" dirty="0"/>
              <a:t>1-4</a:t>
            </a:r>
            <a:r>
              <a:rPr lang="es-ES" dirty="0"/>
              <a:t>.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D5DB7DE2-87D7-A3B5-4593-57E9CDE9C7B4}"/>
              </a:ext>
            </a:extLst>
          </p:cNvPr>
          <p:cNvSpPr txBox="1"/>
          <p:nvPr/>
        </p:nvSpPr>
        <p:spPr>
          <a:xfrm rot="16200000">
            <a:off x="10584462" y="3677419"/>
            <a:ext cx="25370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0</a:t>
            </a:r>
            <a:endParaRPr lang="es-ES" sz="12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6698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60F3D6-FDFD-7D29-EC51-BBD3FD6E13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ítulo 1">
            <a:extLst>
              <a:ext uri="{FF2B5EF4-FFF2-40B4-BE49-F238E27FC236}">
                <a16:creationId xmlns:a16="http://schemas.microsoft.com/office/drawing/2014/main" id="{A97DED36-9290-D0D9-4A61-D5EB358DBC03}"/>
              </a:ext>
            </a:extLst>
          </p:cNvPr>
          <p:cNvSpPr txBox="1">
            <a:spLocks/>
          </p:cNvSpPr>
          <p:nvPr/>
        </p:nvSpPr>
        <p:spPr>
          <a:xfrm>
            <a:off x="394955" y="160786"/>
            <a:ext cx="11473957" cy="467219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dirty="0"/>
              <a:t>Factores de riesgo cardiovascular y su manejo en raza negra:</a:t>
            </a:r>
          </a:p>
        </p:txBody>
      </p:sp>
      <p:sp>
        <p:nvSpPr>
          <p:cNvPr id="23" name="Título 1">
            <a:extLst>
              <a:ext uri="{FF2B5EF4-FFF2-40B4-BE49-F238E27FC236}">
                <a16:creationId xmlns:a16="http://schemas.microsoft.com/office/drawing/2014/main" id="{DF1EA535-4545-7341-3ED0-BBFEBD3B1294}"/>
              </a:ext>
            </a:extLst>
          </p:cNvPr>
          <p:cNvSpPr txBox="1">
            <a:spLocks/>
          </p:cNvSpPr>
          <p:nvPr/>
        </p:nvSpPr>
        <p:spPr>
          <a:xfrm>
            <a:off x="394955" y="628006"/>
            <a:ext cx="11473957" cy="516524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dirty="0"/>
              <a:t>Diabetes Mellitus tipo 2  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84A79A46-F892-BE6B-D029-CDC04723075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34911"/>
          <a:stretch/>
        </p:blipFill>
        <p:spPr>
          <a:xfrm>
            <a:off x="5684218" y="2314699"/>
            <a:ext cx="5659093" cy="3900639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D8745FC3-6F45-9061-06A5-631312C66D66}"/>
              </a:ext>
            </a:extLst>
          </p:cNvPr>
          <p:cNvSpPr txBox="1"/>
          <p:nvPr/>
        </p:nvSpPr>
        <p:spPr>
          <a:xfrm>
            <a:off x="6765344" y="6224827"/>
            <a:ext cx="3334872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 err="1"/>
              <a:t>Circulation</a:t>
            </a:r>
            <a:r>
              <a:rPr lang="es-ES" dirty="0"/>
              <a:t> </a:t>
            </a:r>
            <a:r>
              <a:rPr lang="es-ES" dirty="0" err="1"/>
              <a:t>Research</a:t>
            </a:r>
            <a:r>
              <a:rPr lang="es-ES" dirty="0"/>
              <a:t>. 2020;126:1501–1525. 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E9BD4413-F7F3-46DF-E31B-69255BAE6B09}"/>
              </a:ext>
            </a:extLst>
          </p:cNvPr>
          <p:cNvSpPr txBox="1"/>
          <p:nvPr/>
        </p:nvSpPr>
        <p:spPr>
          <a:xfrm>
            <a:off x="5659716" y="1417784"/>
            <a:ext cx="568359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400" b="1" i="0" u="none" strike="noStrike" baseline="0">
                <a:solidFill>
                  <a:srgbClr val="000000"/>
                </a:solidFill>
                <a:latin typeface="Akzidenz Grotesk BE Bold"/>
              </a:defRPr>
            </a:lvl1pPr>
          </a:lstStyle>
          <a:p>
            <a:r>
              <a:rPr lang="es-ES" dirty="0"/>
              <a:t>Evolución temporal de la progresión de la diabetes mellitus, desde el inicio de la hiperglucemia, pasando por las fases medias y tardías de la enfermedad y sus consecuencias para el fenotipo del miocardio diabético</a:t>
            </a:r>
            <a:r>
              <a:rPr lang="es-ES" baseline="30000" dirty="0"/>
              <a:t>2</a:t>
            </a:r>
            <a:endParaRPr lang="es-ES" dirty="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5299BBE5-DF14-FEF8-AB9B-7389A8BA275C}"/>
              </a:ext>
            </a:extLst>
          </p:cNvPr>
          <p:cNvSpPr txBox="1"/>
          <p:nvPr/>
        </p:nvSpPr>
        <p:spPr>
          <a:xfrm>
            <a:off x="224118" y="5598024"/>
            <a:ext cx="5160662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  <a:effectLst/>
              </a:defRPr>
            </a:lvl1pPr>
          </a:lstStyle>
          <a:p>
            <a:endParaRPr lang="es-ES" b="0" dirty="0"/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6F94EADF-D3FE-2652-906A-FA8D3D6E46D2}"/>
              </a:ext>
            </a:extLst>
          </p:cNvPr>
          <p:cNvSpPr txBox="1"/>
          <p:nvPr/>
        </p:nvSpPr>
        <p:spPr>
          <a:xfrm>
            <a:off x="469211" y="1833282"/>
            <a:ext cx="4769223" cy="64633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L="285750" marR="0" indent="-28575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as personas que viven con diabetes, especialmente DM2, tienen un mayor riesgo de desarrollar y morir por enfermedades cardiovasculares</a:t>
            </a:r>
            <a:r>
              <a:rPr lang="es-ES" baseline="30000" dirty="0"/>
              <a:t>1,2</a:t>
            </a:r>
            <a:r>
              <a:rPr lang="es-ES" dirty="0"/>
              <a:t>.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D7AF1212-CBEC-DA6C-058F-61AA20D39E9C}"/>
              </a:ext>
            </a:extLst>
          </p:cNvPr>
          <p:cNvSpPr txBox="1"/>
          <p:nvPr/>
        </p:nvSpPr>
        <p:spPr>
          <a:xfrm>
            <a:off x="550989" y="5598024"/>
            <a:ext cx="4605148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. </a:t>
            </a:r>
            <a:r>
              <a:rPr lang="es-ES" b="0" dirty="0" err="1"/>
              <a:t>Borén</a:t>
            </a:r>
            <a:r>
              <a:rPr lang="es-ES" b="0" dirty="0"/>
              <a:t> J, et al. </a:t>
            </a:r>
            <a:r>
              <a:rPr lang="es-ES" b="0" dirty="0" err="1"/>
              <a:t>The</a:t>
            </a:r>
            <a:r>
              <a:rPr lang="es-ES" b="0" dirty="0"/>
              <a:t> link </a:t>
            </a:r>
            <a:r>
              <a:rPr lang="es-ES" b="0" dirty="0" err="1"/>
              <a:t>between</a:t>
            </a:r>
            <a:r>
              <a:rPr lang="es-ES" b="0" dirty="0"/>
              <a:t> diabetes and cardiovascular </a:t>
            </a:r>
            <a:r>
              <a:rPr lang="es-ES" b="0" dirty="0" err="1"/>
              <a:t>disease</a:t>
            </a:r>
            <a:r>
              <a:rPr lang="es-ES" b="0" dirty="0"/>
              <a:t>. </a:t>
            </a:r>
            <a:r>
              <a:rPr lang="es-ES" b="0" dirty="0" err="1"/>
              <a:t>Atherosclerosis</a:t>
            </a:r>
            <a:r>
              <a:rPr lang="es-ES" b="0" dirty="0"/>
              <a:t>. 2024 Jul;394:117607. </a:t>
            </a:r>
            <a:r>
              <a:rPr lang="es-ES" b="0" dirty="0" err="1"/>
              <a:t>doi</a:t>
            </a:r>
            <a:r>
              <a:rPr lang="es-ES" b="0" dirty="0"/>
              <a:t>: 10.1016/j.atherosclerosis.2024.117607. </a:t>
            </a:r>
            <a:r>
              <a:rPr lang="es-ES" b="0" dirty="0" err="1"/>
              <a:t>Epub</a:t>
            </a:r>
            <a:r>
              <a:rPr lang="es-ES" b="0" dirty="0"/>
              <a:t> 2024 May 29. </a:t>
            </a:r>
            <a:r>
              <a:rPr lang="en-US" dirty="0"/>
              <a:t>2. </a:t>
            </a:r>
            <a:r>
              <a:rPr lang="en-US" b="0" dirty="0"/>
              <a:t>Ritchie RH, et al. Basic Mechanisms of Diabetic Heart Disease. </a:t>
            </a:r>
            <a:r>
              <a:rPr lang="es-ES" b="0" dirty="0" err="1"/>
              <a:t>Circulation</a:t>
            </a:r>
            <a:r>
              <a:rPr lang="es-ES" b="0" dirty="0"/>
              <a:t> </a:t>
            </a:r>
            <a:r>
              <a:rPr lang="es-ES" b="0" dirty="0" err="1"/>
              <a:t>Research</a:t>
            </a:r>
            <a:r>
              <a:rPr lang="es-ES" b="0" dirty="0"/>
              <a:t>. 2020;126:1501–1525. DOI: 10.1161/CIRCRESAHA.120.315913.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EF853405-EF9B-7804-99BA-30FA56199D84}"/>
              </a:ext>
            </a:extLst>
          </p:cNvPr>
          <p:cNvSpPr txBox="1"/>
          <p:nvPr/>
        </p:nvSpPr>
        <p:spPr>
          <a:xfrm>
            <a:off x="469210" y="2949933"/>
            <a:ext cx="4769223" cy="236988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s-ES"/>
            </a:defPPr>
            <a:lvl1pPr marL="285750" marR="0" indent="-28575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Varios factores contribuyen al aumento del riesgo cardiovascular asociado con la diabetes. Entre ellas</a:t>
            </a:r>
            <a:r>
              <a:rPr lang="es-ES" baseline="30000" dirty="0"/>
              <a:t>1</a:t>
            </a:r>
            <a:r>
              <a:rPr lang="es-ES" dirty="0"/>
              <a:t>:</a:t>
            </a:r>
          </a:p>
          <a:p>
            <a:pPr marL="0" indent="0">
              <a:buNone/>
            </a:pPr>
            <a:endParaRPr lang="es-ES" sz="9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la hiperglucemia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la resistencia a la insulina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la dislipidemia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la inflamación de bajo grado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la obesidad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la hipertensión 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las complicaciones relacionadas con la diabetes, (nefropatía y la retinopatía), 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FA59E72B-13E0-29E7-CD72-15B21BE98312}"/>
              </a:ext>
            </a:extLst>
          </p:cNvPr>
          <p:cNvSpPr txBox="1"/>
          <p:nvPr/>
        </p:nvSpPr>
        <p:spPr>
          <a:xfrm rot="16200000">
            <a:off x="10584462" y="3677419"/>
            <a:ext cx="25370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0</a:t>
            </a:r>
            <a:endParaRPr lang="es-ES" sz="12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4397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134455-DA86-7076-84BC-99D0651A1C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ítulo 1">
            <a:extLst>
              <a:ext uri="{FF2B5EF4-FFF2-40B4-BE49-F238E27FC236}">
                <a16:creationId xmlns:a16="http://schemas.microsoft.com/office/drawing/2014/main" id="{91C22DD4-5BCE-776C-D83C-6D62923F6181}"/>
              </a:ext>
            </a:extLst>
          </p:cNvPr>
          <p:cNvSpPr txBox="1">
            <a:spLocks/>
          </p:cNvSpPr>
          <p:nvPr/>
        </p:nvSpPr>
        <p:spPr>
          <a:xfrm>
            <a:off x="394955" y="160786"/>
            <a:ext cx="11473957" cy="467219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dirty="0"/>
              <a:t>Factores de riesgo cardiovascular y su manejo en raza negra:</a:t>
            </a:r>
          </a:p>
        </p:txBody>
      </p:sp>
      <p:sp>
        <p:nvSpPr>
          <p:cNvPr id="23" name="Título 1">
            <a:extLst>
              <a:ext uri="{FF2B5EF4-FFF2-40B4-BE49-F238E27FC236}">
                <a16:creationId xmlns:a16="http://schemas.microsoft.com/office/drawing/2014/main" id="{5D20B09E-B622-6BD4-8D14-B347360E9D48}"/>
              </a:ext>
            </a:extLst>
          </p:cNvPr>
          <p:cNvSpPr txBox="1">
            <a:spLocks/>
          </p:cNvSpPr>
          <p:nvPr/>
        </p:nvSpPr>
        <p:spPr>
          <a:xfrm>
            <a:off x="394955" y="628006"/>
            <a:ext cx="11473957" cy="516524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dirty="0"/>
              <a:t>Diabetes Mellitus tipo 2  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9C418BC5-C0B4-2C13-F4FC-0F3A25AD3170}"/>
              </a:ext>
            </a:extLst>
          </p:cNvPr>
          <p:cNvSpPr txBox="1"/>
          <p:nvPr/>
        </p:nvSpPr>
        <p:spPr>
          <a:xfrm>
            <a:off x="902691" y="3299506"/>
            <a:ext cx="6161482" cy="43088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accent1"/>
                </a:solidFill>
              </a:defRPr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sz="1400" dirty="0"/>
              <a:t>En jóvenes &lt;20 años, la tasa de incidencia de DM2 (por 100000) es la más alta en los jóvenes negros (50,1), seguidos por los indios (46)</a:t>
            </a:r>
            <a:r>
              <a:rPr lang="es-ES" sz="1400" baseline="30000" dirty="0"/>
              <a:t>2</a:t>
            </a:r>
            <a:r>
              <a:rPr lang="es-ES" sz="1400" dirty="0"/>
              <a:t>.</a:t>
            </a: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ED9892F8-622D-0B3C-251E-1B12BBD6C8AA}"/>
              </a:ext>
            </a:extLst>
          </p:cNvPr>
          <p:cNvSpPr txBox="1"/>
          <p:nvPr/>
        </p:nvSpPr>
        <p:spPr>
          <a:xfrm>
            <a:off x="880393" y="4078859"/>
            <a:ext cx="6182264" cy="43088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L="285750" marR="0" indent="-28575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ntre el 2001 y el 2018, los principales predictores de la DM2 de inicio temprano (inicio, &lt;50.5 años) en los hombres era la etnia/raza negra</a:t>
            </a:r>
            <a:r>
              <a:rPr lang="es-ES" sz="1400" baseline="30000" dirty="0"/>
              <a:t>2</a:t>
            </a:r>
            <a:r>
              <a:rPr lang="es-ES" dirty="0"/>
              <a:t>.</a:t>
            </a: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9AC2E738-2944-92BB-98C7-039D8B884C3F}"/>
              </a:ext>
            </a:extLst>
          </p:cNvPr>
          <p:cNvSpPr txBox="1"/>
          <p:nvPr/>
        </p:nvSpPr>
        <p:spPr>
          <a:xfrm>
            <a:off x="880393" y="4810828"/>
            <a:ext cx="6182264" cy="64633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accent1"/>
                </a:solidFill>
              </a:defRPr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sz="1400" dirty="0"/>
              <a:t>Por otro lado, la prevalencia estandarizada por edad de la diabetes gestacional es más baja entre las mujeres de raza negra (6.9%), que en blancas (7.0%) e hispanas (9.3%)</a:t>
            </a:r>
            <a:r>
              <a:rPr lang="es-ES" sz="1400" baseline="30000" dirty="0"/>
              <a:t>2</a:t>
            </a:r>
            <a:r>
              <a:rPr lang="es-ES" sz="1400" dirty="0"/>
              <a:t>. </a:t>
            </a: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id="{8F2974A4-C441-7BDF-0D39-4D067F0EBF02}"/>
              </a:ext>
            </a:extLst>
          </p:cNvPr>
          <p:cNvSpPr txBox="1"/>
          <p:nvPr/>
        </p:nvSpPr>
        <p:spPr>
          <a:xfrm>
            <a:off x="1892808" y="5933649"/>
            <a:ext cx="8933687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b="1" dirty="0"/>
              <a:t>1. </a:t>
            </a:r>
            <a:r>
              <a:rPr lang="en-US" dirty="0"/>
              <a:t>Hill‑Briggs F, et al. Social Determinants of Health, Race, &amp; Diabetes Population Health Improvement: Black/African Americans as a Population Exemplar. Current Diabetes Reports (2022) 22:117–128. </a:t>
            </a:r>
            <a:r>
              <a:rPr lang="en-US" b="1" dirty="0"/>
              <a:t>2</a:t>
            </a:r>
            <a:r>
              <a:rPr lang="en-US" dirty="0"/>
              <a:t>. Martin SS, et al. 2025 Heart Disease and Stroke Statistics: A Report of US and Global Data From the American Heart Association. </a:t>
            </a:r>
            <a:r>
              <a:rPr lang="pt-BR" dirty="0" err="1"/>
              <a:t>Circulation</a:t>
            </a:r>
            <a:r>
              <a:rPr lang="pt-BR" dirty="0"/>
              <a:t>. 2025 </a:t>
            </a:r>
            <a:r>
              <a:rPr lang="pt-BR" dirty="0" err="1"/>
              <a:t>Feb</a:t>
            </a:r>
            <a:r>
              <a:rPr lang="pt-BR" dirty="0"/>
              <a:t> 25;151(8):e41-e660. </a:t>
            </a:r>
            <a:endParaRPr lang="es-ES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266573DE-57BD-C62F-714B-667F85ACA58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155"/>
          <a:stretch/>
        </p:blipFill>
        <p:spPr>
          <a:xfrm>
            <a:off x="7386943" y="1950913"/>
            <a:ext cx="3942081" cy="2816501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65E278E9-C18C-7FCE-9341-06397B8E1D6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5" t="15462" r="36574" b="20739"/>
          <a:stretch/>
        </p:blipFill>
        <p:spPr>
          <a:xfrm>
            <a:off x="8116927" y="4793922"/>
            <a:ext cx="3212098" cy="319747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E0A30C64-68AF-F018-2232-B89A09579F9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4044" t="23536" r="2359" b="53034"/>
          <a:stretch/>
        </p:blipFill>
        <p:spPr>
          <a:xfrm>
            <a:off x="8049917" y="5090694"/>
            <a:ext cx="1609725" cy="110463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B281D8CD-11F2-0394-5ABD-A103D75B0E3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22976" y="5090694"/>
            <a:ext cx="1609725" cy="146284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5487EA6C-0036-DE19-8BA0-0003DFE62930}"/>
              </a:ext>
            </a:extLst>
          </p:cNvPr>
          <p:cNvSpPr txBox="1"/>
          <p:nvPr/>
        </p:nvSpPr>
        <p:spPr>
          <a:xfrm>
            <a:off x="8194239" y="1621961"/>
            <a:ext cx="305747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400" b="1" i="0" u="none" strike="noStrike" baseline="0">
                <a:solidFill>
                  <a:srgbClr val="000000"/>
                </a:solidFill>
                <a:latin typeface="Akzidenz Grotesk BE Bold"/>
              </a:defRPr>
            </a:lvl1pPr>
          </a:lstStyle>
          <a:p>
            <a:r>
              <a:rPr lang="es-ES_tradnl" dirty="0"/>
              <a:t>Diabetes tipo 2 (edad 10-19 años)</a:t>
            </a:r>
            <a:r>
              <a:rPr lang="es-ES" sz="1400" baseline="30000" dirty="0"/>
              <a:t>2</a:t>
            </a:r>
            <a:endParaRPr lang="es-ES" dirty="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95D37190-7433-B1F6-D21C-629BE5A338E7}"/>
              </a:ext>
            </a:extLst>
          </p:cNvPr>
          <p:cNvSpPr txBox="1"/>
          <p:nvPr/>
        </p:nvSpPr>
        <p:spPr>
          <a:xfrm>
            <a:off x="8194238" y="5385337"/>
            <a:ext cx="3134785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b="1" dirty="0" err="1"/>
              <a:t>Circulation</a:t>
            </a:r>
            <a:r>
              <a:rPr lang="es-ES" b="1" dirty="0"/>
              <a:t>. 2025 Feb 25;151(8):e41-e660. 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DA2A0224-20E7-07BF-9BE0-56C75417696E}"/>
              </a:ext>
            </a:extLst>
          </p:cNvPr>
          <p:cNvSpPr txBox="1"/>
          <p:nvPr/>
        </p:nvSpPr>
        <p:spPr>
          <a:xfrm>
            <a:off x="543002" y="1559580"/>
            <a:ext cx="6182264" cy="24622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accent1"/>
                </a:solidFill>
              </a:defRPr>
            </a:lvl1pPr>
          </a:lstStyle>
          <a:p>
            <a:r>
              <a:rPr lang="es-ES" b="1" dirty="0"/>
              <a:t>Datos de los EEUU: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45AFFDF0-E59F-61CC-1DED-0065200B3C4A}"/>
              </a:ext>
            </a:extLst>
          </p:cNvPr>
          <p:cNvSpPr txBox="1"/>
          <p:nvPr/>
        </p:nvSpPr>
        <p:spPr>
          <a:xfrm>
            <a:off x="902691" y="2188963"/>
            <a:ext cx="6094476" cy="861774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L="285750" marR="0" indent="-28575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os adultos negros/afroamericanos tienen un 73% más de probabilidades de tener diabetes (diagnosticada y no diagnosticada) que los adultos blancos y más del doble de probabilidades de morir por causas relacionadas con la diabetes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62B950FC-6E62-95DE-D0B3-693450EE060B}"/>
              </a:ext>
            </a:extLst>
          </p:cNvPr>
          <p:cNvSpPr txBox="1"/>
          <p:nvPr/>
        </p:nvSpPr>
        <p:spPr>
          <a:xfrm rot="16200000">
            <a:off x="10584462" y="3677419"/>
            <a:ext cx="25370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0</a:t>
            </a:r>
            <a:endParaRPr lang="es-ES" sz="12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5167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72771D-B230-EDC4-48B5-5A854DF10B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>
            <a:extLst>
              <a:ext uri="{FF2B5EF4-FFF2-40B4-BE49-F238E27FC236}">
                <a16:creationId xmlns:a16="http://schemas.microsoft.com/office/drawing/2014/main" id="{AC83293E-9757-71B6-8B6A-1096F2B176A1}"/>
              </a:ext>
            </a:extLst>
          </p:cNvPr>
          <p:cNvSpPr txBox="1">
            <a:spLocks/>
          </p:cNvSpPr>
          <p:nvPr/>
        </p:nvSpPr>
        <p:spPr>
          <a:xfrm>
            <a:off x="394955" y="160786"/>
            <a:ext cx="11473957" cy="467219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dirty="0"/>
              <a:t>Factores de riesgo cardiovascular y su manejo en raza negra:</a:t>
            </a:r>
          </a:p>
        </p:txBody>
      </p:sp>
      <p:sp>
        <p:nvSpPr>
          <p:cNvPr id="12" name="Título 1">
            <a:extLst>
              <a:ext uri="{FF2B5EF4-FFF2-40B4-BE49-F238E27FC236}">
                <a16:creationId xmlns:a16="http://schemas.microsoft.com/office/drawing/2014/main" id="{9C7F111B-414E-DB85-122F-E510D8C6D3BC}"/>
              </a:ext>
            </a:extLst>
          </p:cNvPr>
          <p:cNvSpPr txBox="1">
            <a:spLocks/>
          </p:cNvSpPr>
          <p:nvPr/>
        </p:nvSpPr>
        <p:spPr>
          <a:xfrm>
            <a:off x="394955" y="628006"/>
            <a:ext cx="11473957" cy="516524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dirty="0"/>
              <a:t>Diabetes Mellitus tipo 2 y sus complicaciones</a:t>
            </a: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E5709B80-093D-BB24-2663-1B3234C8A31F}"/>
              </a:ext>
            </a:extLst>
          </p:cNvPr>
          <p:cNvSpPr txBox="1"/>
          <p:nvPr/>
        </p:nvSpPr>
        <p:spPr>
          <a:xfrm>
            <a:off x="1255589" y="5825457"/>
            <a:ext cx="9494707" cy="70788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dirty="0"/>
              <a:t>1. </a:t>
            </a:r>
            <a:r>
              <a:rPr lang="en-US" b="0" dirty="0"/>
              <a:t>Hill‑Briggs F, et al. Social Determinants of Health, Race, &amp; Diabetes Population Health Improvement: Black/African Americans as a Population Exemplar. Current Diabetes Reports (2022) 22:117–128. </a:t>
            </a:r>
            <a:r>
              <a:rPr lang="en-US" dirty="0"/>
              <a:t>2</a:t>
            </a:r>
            <a:r>
              <a:rPr lang="en-US" b="0" dirty="0"/>
              <a:t>. </a:t>
            </a:r>
            <a:r>
              <a:rPr lang="es-ES" b="0" dirty="0"/>
              <a:t>Zhang X, et al. </a:t>
            </a:r>
            <a:r>
              <a:rPr lang="es-ES" b="0" dirty="0" err="1"/>
              <a:t>Prevalence</a:t>
            </a:r>
            <a:r>
              <a:rPr lang="es-ES" b="0" dirty="0"/>
              <a:t> </a:t>
            </a:r>
            <a:r>
              <a:rPr lang="es-ES" b="0" dirty="0" err="1"/>
              <a:t>of</a:t>
            </a:r>
            <a:r>
              <a:rPr lang="es-ES" b="0" dirty="0"/>
              <a:t> </a:t>
            </a:r>
            <a:r>
              <a:rPr lang="es-ES" b="0" dirty="0" err="1"/>
              <a:t>Diabetic</a:t>
            </a:r>
            <a:r>
              <a:rPr lang="es-ES" b="0" dirty="0"/>
              <a:t> </a:t>
            </a:r>
            <a:r>
              <a:rPr lang="es-ES" b="0" dirty="0" err="1"/>
              <a:t>Retinopathy</a:t>
            </a:r>
            <a:r>
              <a:rPr lang="es-ES" b="0" dirty="0"/>
              <a:t> in </a:t>
            </a:r>
            <a:r>
              <a:rPr lang="es-ES" b="0" dirty="0" err="1"/>
              <a:t>the</a:t>
            </a:r>
            <a:r>
              <a:rPr lang="es-ES" b="0" dirty="0"/>
              <a:t> </a:t>
            </a:r>
            <a:r>
              <a:rPr lang="es-ES" b="0" dirty="0" err="1"/>
              <a:t>United</a:t>
            </a:r>
            <a:r>
              <a:rPr lang="es-ES" b="0" dirty="0"/>
              <a:t> </a:t>
            </a:r>
            <a:r>
              <a:rPr lang="es-ES" b="0" dirty="0" err="1"/>
              <a:t>States</a:t>
            </a:r>
            <a:r>
              <a:rPr lang="es-ES" b="0" dirty="0"/>
              <a:t>, 2005-2008. JAMA. 2010;304(6):649-656.</a:t>
            </a:r>
            <a:r>
              <a:rPr lang="en-US" b="0" dirty="0"/>
              <a:t> </a:t>
            </a:r>
            <a:r>
              <a:rPr lang="en-US" dirty="0"/>
              <a:t>3</a:t>
            </a:r>
            <a:r>
              <a:rPr lang="en-US" b="0" dirty="0"/>
              <a:t>. </a:t>
            </a:r>
            <a:r>
              <a:rPr lang="en-US" b="0" dirty="0" err="1"/>
              <a:t>Ramphul</a:t>
            </a:r>
            <a:r>
              <a:rPr lang="en-US" b="0" dirty="0"/>
              <a:t> K, </a:t>
            </a:r>
            <a:r>
              <a:rPr lang="en-US" b="0" dirty="0" err="1"/>
              <a:t>Joynauth</a:t>
            </a:r>
            <a:r>
              <a:rPr lang="en-US" b="0" dirty="0"/>
              <a:t> J. An update on the incidence and burden of diabetic ketoacidosis in the U.S. Diabetes Care. 2020;43:e196–e197. </a:t>
            </a:r>
            <a:r>
              <a:rPr lang="en-US" dirty="0"/>
              <a:t>4</a:t>
            </a:r>
            <a:r>
              <a:rPr lang="en-US" b="0" dirty="0"/>
              <a:t>. National Healthcare Quality and Disparities Report Introduction and Methods. Rockville, MD: Agency for Healthcare Research and Quality; December 2020. AHRQ Publication No. 20(21)-0045-EF. https://www.ahrq.gov/research/findings/nhqrdr/nhqdr19/index.html. </a:t>
            </a:r>
            <a:r>
              <a:rPr lang="en-US" dirty="0"/>
              <a:t>5</a:t>
            </a:r>
            <a:r>
              <a:rPr lang="en-US" b="0" dirty="0"/>
              <a:t>. Martin SS, et al. 2025 Heart Disease and Stroke Statistics: A Report of US and Global Data From the American Heart Association. </a:t>
            </a:r>
            <a:r>
              <a:rPr lang="pt-BR" b="0" dirty="0" err="1"/>
              <a:t>Circulation</a:t>
            </a:r>
            <a:r>
              <a:rPr lang="pt-BR" b="0" dirty="0"/>
              <a:t>. 2025 </a:t>
            </a:r>
            <a:r>
              <a:rPr lang="pt-BR" b="0" dirty="0" err="1"/>
              <a:t>Feb</a:t>
            </a:r>
            <a:r>
              <a:rPr lang="pt-BR" b="0" dirty="0"/>
              <a:t> 25;151(8):e41-e660. </a:t>
            </a:r>
            <a:endParaRPr lang="es-ES" b="0" dirty="0"/>
          </a:p>
        </p:txBody>
      </p:sp>
      <p:grpSp>
        <p:nvGrpSpPr>
          <p:cNvPr id="31" name="Grupo 30">
            <a:extLst>
              <a:ext uri="{FF2B5EF4-FFF2-40B4-BE49-F238E27FC236}">
                <a16:creationId xmlns:a16="http://schemas.microsoft.com/office/drawing/2014/main" id="{A4DAD9EA-1A48-6C61-4220-463E76A54D53}"/>
              </a:ext>
            </a:extLst>
          </p:cNvPr>
          <p:cNvGrpSpPr/>
          <p:nvPr/>
        </p:nvGrpSpPr>
        <p:grpSpPr>
          <a:xfrm>
            <a:off x="6797041" y="2335339"/>
            <a:ext cx="4391244" cy="3155829"/>
            <a:chOff x="7111855" y="2135850"/>
            <a:chExt cx="4391244" cy="3155829"/>
          </a:xfrm>
        </p:grpSpPr>
        <p:pic>
          <p:nvPicPr>
            <p:cNvPr id="28" name="Imagen 27">
              <a:extLst>
                <a:ext uri="{FF2B5EF4-FFF2-40B4-BE49-F238E27FC236}">
                  <a16:creationId xmlns:a16="http://schemas.microsoft.com/office/drawing/2014/main" id="{2D42A420-B051-5F48-4C21-33341D986E2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111855" y="2446517"/>
              <a:ext cx="4212524" cy="2514652"/>
            </a:xfrm>
            <a:prstGeom prst="rect">
              <a:avLst/>
            </a:prstGeom>
          </p:spPr>
        </p:pic>
        <p:sp>
          <p:nvSpPr>
            <p:cNvPr id="29" name="CuadroTexto 28">
              <a:extLst>
                <a:ext uri="{FF2B5EF4-FFF2-40B4-BE49-F238E27FC236}">
                  <a16:creationId xmlns:a16="http://schemas.microsoft.com/office/drawing/2014/main" id="{77C8E580-9E99-8403-CF70-C8E2027196F4}"/>
                </a:ext>
              </a:extLst>
            </p:cNvPr>
            <p:cNvSpPr txBox="1"/>
            <p:nvPr/>
          </p:nvSpPr>
          <p:spPr>
            <a:xfrm>
              <a:off x="7712773" y="5076235"/>
              <a:ext cx="3451098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>
              <a:defPPr>
                <a:defRPr lang="es-ES"/>
              </a:defPPr>
              <a:lvl1pPr algn="ctr">
                <a:defRPr sz="800" b="1" i="1">
                  <a:solidFill>
                    <a:schemeClr val="accent1"/>
                  </a:solidFill>
                  <a:effectLst/>
                </a:defRPr>
              </a:lvl1pPr>
            </a:lstStyle>
            <a:p>
              <a:r>
                <a:rPr lang="es-ES" dirty="0"/>
                <a:t>JAMA. 2010;304(6):649-656</a:t>
              </a:r>
            </a:p>
          </p:txBody>
        </p:sp>
        <p:sp>
          <p:nvSpPr>
            <p:cNvPr id="30" name="CuadroTexto 29">
              <a:extLst>
                <a:ext uri="{FF2B5EF4-FFF2-40B4-BE49-F238E27FC236}">
                  <a16:creationId xmlns:a16="http://schemas.microsoft.com/office/drawing/2014/main" id="{A76EDE77-EA41-AA3A-9EFA-3BC3FC1F2A63}"/>
                </a:ext>
              </a:extLst>
            </p:cNvPr>
            <p:cNvSpPr txBox="1"/>
            <p:nvPr/>
          </p:nvSpPr>
          <p:spPr>
            <a:xfrm>
              <a:off x="7154090" y="2135850"/>
              <a:ext cx="4349009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s-ES"/>
              </a:defPPr>
              <a:lvl1pPr algn="ctr">
                <a:defRPr sz="1400" b="1" i="0" u="none" strike="noStrike" baseline="0">
                  <a:solidFill>
                    <a:srgbClr val="000000"/>
                  </a:solidFill>
                  <a:latin typeface="Akzidenz Grotesk BE Bold"/>
                </a:defRPr>
              </a:lvl1pPr>
            </a:lstStyle>
            <a:p>
              <a:r>
                <a:rPr lang="en-US" dirty="0" err="1"/>
                <a:t>Factores</a:t>
              </a:r>
              <a:r>
                <a:rPr lang="en-US" dirty="0"/>
                <a:t> de </a:t>
              </a:r>
              <a:r>
                <a:rPr lang="en-US" dirty="0" err="1"/>
                <a:t>riesgo</a:t>
              </a:r>
              <a:r>
                <a:rPr lang="en-US" dirty="0"/>
                <a:t> de la </a:t>
              </a:r>
              <a:r>
                <a:rPr lang="en-US" dirty="0" err="1"/>
                <a:t>retinopatía</a:t>
              </a:r>
              <a:r>
                <a:rPr lang="en-US" dirty="0"/>
                <a:t> diabética</a:t>
              </a:r>
              <a:r>
                <a:rPr lang="en-US" baseline="30000" dirty="0"/>
                <a:t>2</a:t>
              </a:r>
              <a:endParaRPr lang="es-ES" baseline="30000" dirty="0"/>
            </a:p>
          </p:txBody>
        </p:sp>
      </p:grpSp>
      <p:sp>
        <p:nvSpPr>
          <p:cNvPr id="34" name="CuadroTexto 33">
            <a:extLst>
              <a:ext uri="{FF2B5EF4-FFF2-40B4-BE49-F238E27FC236}">
                <a16:creationId xmlns:a16="http://schemas.microsoft.com/office/drawing/2014/main" id="{16B3BACD-5A33-E3E1-370D-A359EE9F6FA7}"/>
              </a:ext>
            </a:extLst>
          </p:cNvPr>
          <p:cNvSpPr txBox="1"/>
          <p:nvPr/>
        </p:nvSpPr>
        <p:spPr>
          <a:xfrm>
            <a:off x="716936" y="1597595"/>
            <a:ext cx="10758126" cy="646331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s-ES"/>
            </a:defPPr>
            <a:lvl1pPr marL="285750" marR="0" indent="-28575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os adultos afroamericanos con DM tienen de 1.5 a 2.5 veces más probabilidades de tener complicaciones de retinopatía diabética, amputación de miembros inferiores, ECV grave, accidente cerebrovascular y </a:t>
            </a:r>
            <a:r>
              <a:rPr lang="es-ES" i="1" dirty="0" err="1"/>
              <a:t>end-stage</a:t>
            </a:r>
            <a:r>
              <a:rPr lang="es-ES" i="1" dirty="0"/>
              <a:t> renal </a:t>
            </a:r>
            <a:r>
              <a:rPr lang="es-ES" i="1" dirty="0" err="1"/>
              <a:t>disease</a:t>
            </a:r>
            <a:r>
              <a:rPr lang="es-ES" i="1" dirty="0"/>
              <a:t> </a:t>
            </a:r>
            <a:r>
              <a:rPr lang="es-ES" dirty="0"/>
              <a:t>(ESRD, enfermedad renal terminal) que los adultos blancos</a:t>
            </a:r>
            <a:r>
              <a:rPr lang="es-ES" baseline="30000" dirty="0"/>
              <a:t>1,2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35604AD6-3B85-819B-F68D-E46564E8789A}"/>
              </a:ext>
            </a:extLst>
          </p:cNvPr>
          <p:cNvSpPr txBox="1"/>
          <p:nvPr/>
        </p:nvSpPr>
        <p:spPr>
          <a:xfrm>
            <a:off x="716935" y="3529226"/>
            <a:ext cx="5313809" cy="646331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s-ES"/>
            </a:defPPr>
            <a:lvl1pPr marL="285750" marR="0" indent="-28575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os adultos afroamericanos tienen casi 3 veces más probabilidades de ser hospitalizados por DM no controlada y complicaciones a corto plazo de la diabetes</a:t>
            </a:r>
            <a:r>
              <a:rPr lang="es-ES" baseline="30000" dirty="0"/>
              <a:t>1,4</a:t>
            </a:r>
            <a:r>
              <a:rPr lang="es-ES" dirty="0"/>
              <a:t>.</a:t>
            </a: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F6CA5143-C468-3B4A-7AC3-C6873EDAAACB}"/>
              </a:ext>
            </a:extLst>
          </p:cNvPr>
          <p:cNvSpPr txBox="1"/>
          <p:nvPr/>
        </p:nvSpPr>
        <p:spPr>
          <a:xfrm>
            <a:off x="716935" y="2533021"/>
            <a:ext cx="5313809" cy="64633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L="285750" marR="0" indent="-28575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pPr algn="l"/>
            <a:r>
              <a:rPr lang="es-ES" dirty="0"/>
              <a:t>En el 2017, la tasa de mortalidad por cetoacidosis diabética fue más alta para las personas de raza negra en comparación con los blancos</a:t>
            </a:r>
            <a:r>
              <a:rPr lang="es-ES" baseline="30000" dirty="0"/>
              <a:t>3</a:t>
            </a:r>
            <a:r>
              <a:rPr lang="es-ES" dirty="0"/>
              <a:t>.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8B05C305-7F8A-EF29-D3D1-AA2BD6AAFE4B}"/>
              </a:ext>
            </a:extLst>
          </p:cNvPr>
          <p:cNvSpPr txBox="1"/>
          <p:nvPr/>
        </p:nvSpPr>
        <p:spPr>
          <a:xfrm>
            <a:off x="716936" y="4611822"/>
            <a:ext cx="5313809" cy="64633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L="285750" marR="0" indent="-28575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De todos los grupos raciales y étnicos, las personas negras con diabetes tienen la mayor cantidad de gastos directos de atención médica debido a la diabetes</a:t>
            </a:r>
            <a:r>
              <a:rPr lang="es-ES" baseline="30000" dirty="0"/>
              <a:t>5</a:t>
            </a:r>
            <a:r>
              <a:rPr lang="es-ES" dirty="0"/>
              <a:t>.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EB17370A-CC5F-212C-68E7-B1A34C7BADA5}"/>
              </a:ext>
            </a:extLst>
          </p:cNvPr>
          <p:cNvSpPr txBox="1"/>
          <p:nvPr/>
        </p:nvSpPr>
        <p:spPr>
          <a:xfrm rot="16200000">
            <a:off x="10584462" y="3677419"/>
            <a:ext cx="25370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0</a:t>
            </a:r>
            <a:endParaRPr lang="es-ES" sz="12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7372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uadroTexto 12">
            <a:extLst>
              <a:ext uri="{FF2B5EF4-FFF2-40B4-BE49-F238E27FC236}">
                <a16:creationId xmlns:a16="http://schemas.microsoft.com/office/drawing/2014/main" id="{7CC7042D-611E-1E66-8721-9F3A85642C5C}"/>
              </a:ext>
            </a:extLst>
          </p:cNvPr>
          <p:cNvSpPr txBox="1"/>
          <p:nvPr/>
        </p:nvSpPr>
        <p:spPr>
          <a:xfrm>
            <a:off x="1709929" y="5903211"/>
            <a:ext cx="896368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b="1" dirty="0"/>
              <a:t>1.</a:t>
            </a:r>
            <a:r>
              <a:rPr lang="en-US" dirty="0"/>
              <a:t>. Hill‑Briggs F, et al. Social Determinants of Health, Race, &amp; Diabetes Population Health Improvement: Black/African Americans as a Population Exemplar. Current Diabetes Reports (2022) 22:117–128. </a:t>
            </a:r>
            <a:r>
              <a:rPr lang="en-US" b="1" dirty="0"/>
              <a:t>2</a:t>
            </a:r>
            <a:r>
              <a:rPr lang="en-US" dirty="0"/>
              <a:t>. Martin SS, et al. 2025 Heart Disease and Stroke Statistics: A Report of US and Global Data From the American Heart Association. </a:t>
            </a:r>
            <a:r>
              <a:rPr lang="pt-BR" dirty="0" err="1"/>
              <a:t>Circulation</a:t>
            </a:r>
            <a:r>
              <a:rPr lang="pt-BR" dirty="0"/>
              <a:t>. 2025 </a:t>
            </a:r>
            <a:r>
              <a:rPr lang="pt-BR" dirty="0" err="1"/>
              <a:t>Feb</a:t>
            </a:r>
            <a:r>
              <a:rPr lang="pt-BR" dirty="0"/>
              <a:t> 25;151(8):e41-e660. </a:t>
            </a:r>
            <a:r>
              <a:rPr lang="pt-BR" b="1" dirty="0"/>
              <a:t>3</a:t>
            </a:r>
            <a:r>
              <a:rPr lang="pt-BR" dirty="0"/>
              <a:t>. </a:t>
            </a:r>
            <a:r>
              <a:rPr lang="en-US" dirty="0" err="1"/>
              <a:t>Elhussein</a:t>
            </a:r>
            <a:r>
              <a:rPr lang="en-US" dirty="0"/>
              <a:t> A, et al. Racial/ethnic and socioeconomic disparities in the use of newer diabetes medications in the Look AHEAD study. Lancet Reg Health Am. 2022 Feb:6:100111. </a:t>
            </a:r>
          </a:p>
        </p:txBody>
      </p:sp>
      <p:sp>
        <p:nvSpPr>
          <p:cNvPr id="14" name="Título 1">
            <a:extLst>
              <a:ext uri="{FF2B5EF4-FFF2-40B4-BE49-F238E27FC236}">
                <a16:creationId xmlns:a16="http://schemas.microsoft.com/office/drawing/2014/main" id="{44EE8E44-5C02-D9C5-D273-0A9B98A6F9EB}"/>
              </a:ext>
            </a:extLst>
          </p:cNvPr>
          <p:cNvSpPr txBox="1">
            <a:spLocks/>
          </p:cNvSpPr>
          <p:nvPr/>
        </p:nvSpPr>
        <p:spPr>
          <a:xfrm>
            <a:off x="394955" y="160786"/>
            <a:ext cx="11473957" cy="467219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dirty="0"/>
              <a:t>Factores de riesgo cardiovascular y su manejo en raza negra:</a:t>
            </a:r>
          </a:p>
        </p:txBody>
      </p:sp>
      <p:sp>
        <p:nvSpPr>
          <p:cNvPr id="15" name="Título 1">
            <a:extLst>
              <a:ext uri="{FF2B5EF4-FFF2-40B4-BE49-F238E27FC236}">
                <a16:creationId xmlns:a16="http://schemas.microsoft.com/office/drawing/2014/main" id="{BA126CE1-7A58-384C-4CFC-0451780C04BD}"/>
              </a:ext>
            </a:extLst>
          </p:cNvPr>
          <p:cNvSpPr txBox="1">
            <a:spLocks/>
          </p:cNvSpPr>
          <p:nvPr/>
        </p:nvSpPr>
        <p:spPr>
          <a:xfrm>
            <a:off x="394955" y="628006"/>
            <a:ext cx="11473957" cy="516524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dirty="0"/>
              <a:t>Diabetes Mellitus tipo 2 y los niveles de control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0608534C-415A-3006-02EE-0A5B0EFE2AEB}"/>
              </a:ext>
            </a:extLst>
          </p:cNvPr>
          <p:cNvSpPr txBox="1"/>
          <p:nvPr/>
        </p:nvSpPr>
        <p:spPr>
          <a:xfrm>
            <a:off x="588419" y="4504345"/>
            <a:ext cx="5304282" cy="107721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dirty="0"/>
              <a:t>El inicio de los nuevos medicamentos para la diabetes (GLP-1RA, iDPP4, iSGLT-2) en el ensayo Look AHEAD fue menor entre los participantes de raza negra, y los ingresos familiares anuales se asociaron de forma inversa con el inicio de los nuevos medicamentos para la diabetes</a:t>
            </a:r>
            <a:r>
              <a:rPr lang="es-ES" baseline="30000" dirty="0"/>
              <a:t>3</a:t>
            </a:r>
            <a:r>
              <a:rPr lang="es-ES" dirty="0"/>
              <a:t>.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E3E46438-85CD-951C-994B-E967F7E50E22}"/>
              </a:ext>
            </a:extLst>
          </p:cNvPr>
          <p:cNvSpPr txBox="1"/>
          <p:nvPr/>
        </p:nvSpPr>
        <p:spPr>
          <a:xfrm>
            <a:off x="416429" y="2263528"/>
            <a:ext cx="5476271" cy="196977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accent1"/>
                </a:solidFill>
              </a:defRPr>
            </a:lvl1pPr>
          </a:lstStyle>
          <a:p>
            <a:r>
              <a:rPr lang="es-ES" sz="1400" b="1" dirty="0"/>
              <a:t>Control del HbA1C</a:t>
            </a:r>
            <a:r>
              <a:rPr lang="es-ES" sz="1400" dirty="0"/>
              <a:t>:</a:t>
            </a:r>
          </a:p>
          <a:p>
            <a:endParaRPr lang="es-ES" dirty="0"/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r>
              <a:rPr lang="es-ES" sz="1400" dirty="0">
                <a:solidFill>
                  <a:schemeClr val="accent1"/>
                </a:solidFill>
              </a:rPr>
              <a:t>Los niveles más altos de HbA1c (≥8 % frente a &lt;7 %) fueron más frecuentemente observados en las personas de raza negra que en las blanca</a:t>
            </a:r>
            <a:r>
              <a:rPr lang="es-ES" sz="1400" baseline="30000" dirty="0">
                <a:solidFill>
                  <a:schemeClr val="accent1"/>
                </a:solidFill>
              </a:rPr>
              <a:t>2</a:t>
            </a:r>
            <a:r>
              <a:rPr lang="es-ES" sz="1400" dirty="0">
                <a:solidFill>
                  <a:schemeClr val="accent1"/>
                </a:solidFill>
              </a:rPr>
              <a:t>.</a:t>
            </a:r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endParaRPr lang="es-ES" sz="1400" dirty="0">
              <a:solidFill>
                <a:schemeClr val="accent1"/>
              </a:solidFill>
            </a:endParaRPr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r>
              <a:rPr lang="es-ES" sz="1400" dirty="0">
                <a:solidFill>
                  <a:schemeClr val="accent1"/>
                </a:solidFill>
              </a:rPr>
              <a:t>Mejor control de la HbA1c (&lt;7%) se observó en las personas blancas (78.3%) en comparación con las negras (65.1%)</a:t>
            </a:r>
            <a:r>
              <a:rPr lang="es-ES" sz="1400" baseline="30000" dirty="0">
                <a:solidFill>
                  <a:schemeClr val="accent1"/>
                </a:solidFill>
              </a:rPr>
              <a:t>2</a:t>
            </a:r>
            <a:r>
              <a:rPr lang="es-ES" sz="1400" dirty="0">
                <a:solidFill>
                  <a:schemeClr val="accent1"/>
                </a:solidFill>
              </a:rPr>
              <a:t>.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BB0C939B-9903-8466-7CFE-C3491725C78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114"/>
          <a:stretch/>
        </p:blipFill>
        <p:spPr>
          <a:xfrm>
            <a:off x="6471288" y="2928799"/>
            <a:ext cx="4910802" cy="2193169"/>
          </a:xfrm>
          <a:prstGeom prst="rect">
            <a:avLst/>
          </a:prstGeom>
        </p:spPr>
      </p:pic>
      <p:sp>
        <p:nvSpPr>
          <p:cNvPr id="20" name="CuadroTexto 19">
            <a:extLst>
              <a:ext uri="{FF2B5EF4-FFF2-40B4-BE49-F238E27FC236}">
                <a16:creationId xmlns:a16="http://schemas.microsoft.com/office/drawing/2014/main" id="{68860FD9-ADD6-9241-0CC1-26E63CFF90D5}"/>
              </a:ext>
            </a:extLst>
          </p:cNvPr>
          <p:cNvSpPr txBox="1"/>
          <p:nvPr/>
        </p:nvSpPr>
        <p:spPr>
          <a:xfrm>
            <a:off x="6471287" y="2336680"/>
            <a:ext cx="491080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400" b="1" i="0" u="none" strike="noStrike" baseline="0">
                <a:solidFill>
                  <a:srgbClr val="000000"/>
                </a:solidFill>
                <a:latin typeface="Akzidenz Grotesk BE Bold"/>
              </a:defRPr>
            </a:lvl1pPr>
          </a:lstStyle>
          <a:p>
            <a:r>
              <a:rPr lang="es-ES" dirty="0"/>
              <a:t>Uso de clases más nuevas de medicamentos para la diabetes durante el período del estudio, y por raza/etnia</a:t>
            </a:r>
            <a:r>
              <a:rPr lang="es-ES" baseline="30000" dirty="0"/>
              <a:t>3</a:t>
            </a:r>
            <a:endParaRPr lang="es-ES" dirty="0"/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66BFA907-B11C-2518-15D0-527D06ADC040}"/>
              </a:ext>
            </a:extLst>
          </p:cNvPr>
          <p:cNvSpPr txBox="1"/>
          <p:nvPr/>
        </p:nvSpPr>
        <p:spPr>
          <a:xfrm>
            <a:off x="7245531" y="5209551"/>
            <a:ext cx="3561805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dirty="0"/>
              <a:t>Lancet Reg Health Am. 2022 Feb:6:100111. </a:t>
            </a:r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DEDAE273-A375-DEB9-F846-179DEA2916E2}"/>
              </a:ext>
            </a:extLst>
          </p:cNvPr>
          <p:cNvSpPr txBox="1"/>
          <p:nvPr/>
        </p:nvSpPr>
        <p:spPr>
          <a:xfrm>
            <a:off x="588419" y="1478674"/>
            <a:ext cx="10978778" cy="43088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L="285750" marR="0" indent="-28575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 b="0" baseline="0">
                <a:solidFill>
                  <a:schemeClr val="accent1"/>
                </a:solidFill>
              </a:defRPr>
            </a:lvl1pPr>
            <a:lvl2pPr marL="742950" lvl="1" indent="-285750" algn="just">
              <a:buFont typeface="Arial" panose="020B0604020202020204" pitchFamily="34" charset="0"/>
              <a:buChar char="•"/>
              <a:defRPr sz="1400">
                <a:solidFill>
                  <a:schemeClr val="accent1"/>
                </a:solidFill>
              </a:defRPr>
            </a:lvl2pPr>
          </a:lstStyle>
          <a:p>
            <a:r>
              <a:rPr lang="es-ES" dirty="0"/>
              <a:t>Los adultos negros/afroamericanos con diabetes diagnosticada tienen significativamente menos probabilidades que su comparador (raza blanca) de alcanzar los objetivos clínicos y de calidad de la diabetes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4C0F3E10-EE05-8266-41E9-90E8A4B73647}"/>
              </a:ext>
            </a:extLst>
          </p:cNvPr>
          <p:cNvSpPr txBox="1"/>
          <p:nvPr/>
        </p:nvSpPr>
        <p:spPr>
          <a:xfrm rot="16200000">
            <a:off x="10584462" y="3677419"/>
            <a:ext cx="25370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0</a:t>
            </a:r>
            <a:endParaRPr lang="es-ES" sz="12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3737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ítulo 1">
            <a:extLst>
              <a:ext uri="{FF2B5EF4-FFF2-40B4-BE49-F238E27FC236}">
                <a16:creationId xmlns:a16="http://schemas.microsoft.com/office/drawing/2014/main" id="{9B0F6B47-D41E-6BD8-9B0D-9E2F2D7ED4F3}"/>
              </a:ext>
            </a:extLst>
          </p:cNvPr>
          <p:cNvSpPr txBox="1">
            <a:spLocks/>
          </p:cNvSpPr>
          <p:nvPr/>
        </p:nvSpPr>
        <p:spPr>
          <a:xfrm>
            <a:off x="394955" y="160786"/>
            <a:ext cx="11473957" cy="467219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dirty="0"/>
              <a:t>Factores de riesgo cardiovascular y su manejo en raza negra:</a:t>
            </a:r>
          </a:p>
        </p:txBody>
      </p:sp>
      <p:sp>
        <p:nvSpPr>
          <p:cNvPr id="17" name="Título 1">
            <a:extLst>
              <a:ext uri="{FF2B5EF4-FFF2-40B4-BE49-F238E27FC236}">
                <a16:creationId xmlns:a16="http://schemas.microsoft.com/office/drawing/2014/main" id="{86690358-28CD-63AC-3CA8-9B3456F0DDC4}"/>
              </a:ext>
            </a:extLst>
          </p:cNvPr>
          <p:cNvSpPr txBox="1">
            <a:spLocks/>
          </p:cNvSpPr>
          <p:nvPr/>
        </p:nvSpPr>
        <p:spPr>
          <a:xfrm>
            <a:off x="394955" y="628006"/>
            <a:ext cx="11473957" cy="516524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dirty="0"/>
              <a:t>Diabetes Mellitus tipo 2 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9A5D881B-9CD6-9946-BFBC-85A24B81AA7F}"/>
              </a:ext>
            </a:extLst>
          </p:cNvPr>
          <p:cNvSpPr txBox="1"/>
          <p:nvPr/>
        </p:nvSpPr>
        <p:spPr>
          <a:xfrm>
            <a:off x="701323" y="5750527"/>
            <a:ext cx="6111089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dirty="0"/>
              <a:t>1. </a:t>
            </a:r>
            <a:r>
              <a:rPr lang="en-US" b="0" dirty="0"/>
              <a:t>Hill‑Briggs F, et al. Social Determinants of Health, Race, &amp; Diabetes Population Health Improvement: Black/African Americans as a Population Exemplar. Current Diabetes Reports (2022) 22:117–128. </a:t>
            </a:r>
            <a:r>
              <a:rPr lang="en-US" dirty="0"/>
              <a:t>2</a:t>
            </a:r>
            <a:r>
              <a:rPr lang="en-US" b="0" dirty="0"/>
              <a:t>. Davies MJ, et al. Management of </a:t>
            </a:r>
            <a:r>
              <a:rPr lang="en-US" b="0" dirty="0" err="1"/>
              <a:t>hyperglycaemia</a:t>
            </a:r>
            <a:r>
              <a:rPr lang="en-US" b="0" dirty="0"/>
              <a:t> in type 2 diabetes, 2022. A consensus report by the American Diabetes Association (ADA) &amp; the European Association for the Study of Diabetes (EASD). </a:t>
            </a:r>
            <a:r>
              <a:rPr lang="en-US" b="0" dirty="0" err="1"/>
              <a:t>Diabetologia</a:t>
            </a:r>
            <a:r>
              <a:rPr lang="en-US" b="0" dirty="0"/>
              <a:t> (2022) 65:1925–1966. </a:t>
            </a:r>
            <a:r>
              <a:rPr lang="en-US" dirty="0"/>
              <a:t>3</a:t>
            </a:r>
            <a:r>
              <a:rPr lang="en-US" b="0" dirty="0"/>
              <a:t>. Holt R, et al. The management of type 1 diabetes in adults. A consensus report by the American Diabetes Association (ADA) &amp; the European Association for the Study of Diabetes (EASD). </a:t>
            </a:r>
            <a:r>
              <a:rPr lang="pt-BR" b="0" dirty="0" err="1"/>
              <a:t>Diabetologia</a:t>
            </a:r>
            <a:r>
              <a:rPr lang="pt-BR" b="0" dirty="0"/>
              <a:t> . 2021 Dec;64(12):2609-2652</a:t>
            </a:r>
            <a:endParaRPr lang="en-US" b="0" dirty="0"/>
          </a:p>
        </p:txBody>
      </p:sp>
      <p:graphicFrame>
        <p:nvGraphicFramePr>
          <p:cNvPr id="21" name="Tabla 20">
            <a:extLst>
              <a:ext uri="{FF2B5EF4-FFF2-40B4-BE49-F238E27FC236}">
                <a16:creationId xmlns:a16="http://schemas.microsoft.com/office/drawing/2014/main" id="{20CF714D-0014-038D-3CD5-BAAC4A8E36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4551018"/>
              </p:ext>
            </p:extLst>
          </p:nvPr>
        </p:nvGraphicFramePr>
        <p:xfrm>
          <a:off x="7317408" y="1719964"/>
          <a:ext cx="4441867" cy="4861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0866">
                  <a:extLst>
                    <a:ext uri="{9D8B030D-6E8A-4147-A177-3AD203B41FA5}">
                      <a16:colId xmlns:a16="http://schemas.microsoft.com/office/drawing/2014/main" val="1738817126"/>
                    </a:ext>
                  </a:extLst>
                </a:gridCol>
                <a:gridCol w="1031456">
                  <a:extLst>
                    <a:ext uri="{9D8B030D-6E8A-4147-A177-3AD203B41FA5}">
                      <a16:colId xmlns:a16="http://schemas.microsoft.com/office/drawing/2014/main" val="2415891797"/>
                    </a:ext>
                  </a:extLst>
                </a:gridCol>
                <a:gridCol w="1059545">
                  <a:extLst>
                    <a:ext uri="{9D8B030D-6E8A-4147-A177-3AD203B41FA5}">
                      <a16:colId xmlns:a16="http://schemas.microsoft.com/office/drawing/2014/main" val="1268969034"/>
                    </a:ext>
                  </a:extLst>
                </a:gridCol>
              </a:tblGrid>
              <a:tr h="407595">
                <a:tc>
                  <a:txBody>
                    <a:bodyPr/>
                    <a:lstStyle/>
                    <a:p>
                      <a:pPr algn="ctr"/>
                      <a:r>
                        <a:rPr lang="es-ES" sz="1200" dirty="0">
                          <a:solidFill>
                            <a:schemeClr val="accent1"/>
                          </a:solidFill>
                        </a:rPr>
                        <a:t>Determinantes sociales de la salud</a:t>
                      </a:r>
                    </a:p>
                  </a:txBody>
                  <a:tcPr anchor="ctr">
                    <a:solidFill>
                      <a:schemeClr val="accent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200" dirty="0">
                          <a:solidFill>
                            <a:schemeClr val="accent1"/>
                          </a:solidFill>
                        </a:rPr>
                        <a:t>Afro-americanos</a:t>
                      </a:r>
                      <a:endParaRPr lang="es-ES" sz="1200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solidFill>
                      <a:schemeClr val="accent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200" dirty="0">
                          <a:solidFill>
                            <a:schemeClr val="accent1"/>
                          </a:solidFill>
                        </a:rPr>
                        <a:t>Americanos blancos</a:t>
                      </a:r>
                      <a:endParaRPr lang="es-ES" sz="1200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solidFill>
                      <a:schemeClr val="accent1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73537"/>
                  </a:ext>
                </a:extLst>
              </a:tr>
              <a:tr h="244557">
                <a:tc>
                  <a:txBody>
                    <a:bodyPr/>
                    <a:lstStyle/>
                    <a:p>
                      <a:pPr algn="l"/>
                      <a:r>
                        <a:rPr lang="es-ES_tradnl" sz="1200" b="1" dirty="0">
                          <a:solidFill>
                            <a:schemeClr val="accent1"/>
                          </a:solidFill>
                        </a:rPr>
                        <a:t>Nivel educativo</a:t>
                      </a:r>
                      <a:endParaRPr lang="es-ES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 sz="12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 sz="12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1874898"/>
                  </a:ext>
                </a:extLst>
              </a:tr>
              <a:tr h="230971"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s-ES_tradnl" sz="1100" dirty="0">
                          <a:solidFill>
                            <a:schemeClr val="accent1"/>
                          </a:solidFill>
                        </a:rPr>
                        <a:t>Título de grado</a:t>
                      </a:r>
                      <a:endParaRPr lang="es-ES" sz="11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100" dirty="0">
                          <a:solidFill>
                            <a:schemeClr val="accent1"/>
                          </a:solidFill>
                        </a:rPr>
                        <a:t>27,8%</a:t>
                      </a:r>
                      <a:endParaRPr lang="es-ES" sz="11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100" dirty="0">
                          <a:solidFill>
                            <a:schemeClr val="accent1"/>
                          </a:solidFill>
                        </a:rPr>
                        <a:t>37,5%</a:t>
                      </a:r>
                      <a:endParaRPr lang="es-ES" sz="11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6105750"/>
                  </a:ext>
                </a:extLst>
              </a:tr>
              <a:tr h="230971"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s-ES" sz="1100" dirty="0">
                          <a:solidFill>
                            <a:schemeClr val="accent1"/>
                          </a:solidFill>
                        </a:rPr>
                        <a:t>Alfabetización básica o inferior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100" dirty="0">
                          <a:solidFill>
                            <a:schemeClr val="accent1"/>
                          </a:solidFill>
                        </a:rPr>
                        <a:t>75%</a:t>
                      </a:r>
                      <a:endParaRPr lang="es-ES" sz="11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100" dirty="0">
                          <a:solidFill>
                            <a:schemeClr val="accent1"/>
                          </a:solidFill>
                        </a:rPr>
                        <a:t>42%</a:t>
                      </a:r>
                      <a:endParaRPr lang="es-ES" sz="11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5052836"/>
                  </a:ext>
                </a:extLst>
              </a:tr>
              <a:tr h="244557">
                <a:tc>
                  <a:txBody>
                    <a:bodyPr/>
                    <a:lstStyle/>
                    <a:p>
                      <a:pPr algn="l"/>
                      <a:r>
                        <a:rPr lang="es-ES_tradnl" sz="1200" b="1" dirty="0">
                          <a:solidFill>
                            <a:schemeClr val="accent1"/>
                          </a:solidFill>
                        </a:rPr>
                        <a:t>Riqueza media</a:t>
                      </a:r>
                      <a:endParaRPr lang="es-ES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200" dirty="0">
                          <a:solidFill>
                            <a:schemeClr val="accent1"/>
                          </a:solidFill>
                        </a:rPr>
                        <a:t>$24,100</a:t>
                      </a:r>
                      <a:endParaRPr lang="es-ES" sz="12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200" dirty="0">
                          <a:solidFill>
                            <a:schemeClr val="accent1"/>
                          </a:solidFill>
                        </a:rPr>
                        <a:t>$188,200</a:t>
                      </a:r>
                      <a:endParaRPr lang="es-ES" sz="12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1001895"/>
                  </a:ext>
                </a:extLst>
              </a:tr>
              <a:tr h="244557">
                <a:tc>
                  <a:txBody>
                    <a:bodyPr/>
                    <a:lstStyle/>
                    <a:p>
                      <a:pPr algn="l"/>
                      <a:r>
                        <a:rPr lang="es-ES_tradnl" sz="1200" b="1" dirty="0">
                          <a:solidFill>
                            <a:schemeClr val="accent1"/>
                          </a:solidFill>
                        </a:rPr>
                        <a:t>Ocupación</a:t>
                      </a:r>
                      <a:endParaRPr lang="es-ES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 sz="120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 sz="12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8374615"/>
                  </a:ext>
                </a:extLst>
              </a:tr>
              <a:tr h="230971"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s-ES_tradnl" sz="1100" dirty="0">
                          <a:solidFill>
                            <a:schemeClr val="accent1"/>
                          </a:solidFill>
                        </a:rPr>
                        <a:t>Tasa de desempleo</a:t>
                      </a:r>
                      <a:endParaRPr lang="es-ES" sz="11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100" dirty="0">
                          <a:solidFill>
                            <a:schemeClr val="accent1"/>
                          </a:solidFill>
                        </a:rPr>
                        <a:t>11,4%</a:t>
                      </a:r>
                      <a:endParaRPr lang="es-ES" sz="11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100" dirty="0">
                          <a:solidFill>
                            <a:schemeClr val="accent1"/>
                          </a:solidFill>
                        </a:rPr>
                        <a:t>7,3%</a:t>
                      </a:r>
                      <a:endParaRPr lang="es-ES" sz="11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3156051"/>
                  </a:ext>
                </a:extLst>
              </a:tr>
              <a:tr h="230971"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s-ES_tradnl" sz="1100" dirty="0">
                          <a:solidFill>
                            <a:schemeClr val="accent1"/>
                          </a:solidFill>
                        </a:rPr>
                        <a:t>Ocupaciones gerenciales</a:t>
                      </a:r>
                      <a:endParaRPr lang="es-ES" sz="11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100" dirty="0">
                          <a:solidFill>
                            <a:schemeClr val="accent1"/>
                          </a:solidFill>
                        </a:rPr>
                        <a:t>9,7%</a:t>
                      </a:r>
                      <a:endParaRPr lang="es-ES" sz="11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100" dirty="0">
                          <a:solidFill>
                            <a:schemeClr val="accent1"/>
                          </a:solidFill>
                        </a:rPr>
                        <a:t>78,7%</a:t>
                      </a:r>
                      <a:endParaRPr lang="es-ES" sz="11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0268040"/>
                  </a:ext>
                </a:extLst>
              </a:tr>
              <a:tr h="244557">
                <a:tc>
                  <a:txBody>
                    <a:bodyPr/>
                    <a:lstStyle/>
                    <a:p>
                      <a:pPr algn="l"/>
                      <a:r>
                        <a:rPr lang="es-ES_tradnl" sz="1200" b="1" dirty="0">
                          <a:solidFill>
                            <a:schemeClr val="accent1"/>
                          </a:solidFill>
                        </a:rPr>
                        <a:t>Barrio y vivienda</a:t>
                      </a:r>
                      <a:endParaRPr lang="es-ES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 sz="12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 sz="12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9816017"/>
                  </a:ext>
                </a:extLst>
              </a:tr>
              <a:tr h="230971"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s-ES_tradnl" sz="1100" dirty="0">
                          <a:solidFill>
                            <a:schemeClr val="accent1"/>
                          </a:solidFill>
                        </a:rPr>
                        <a:t>Barrios de alta pobreza</a:t>
                      </a:r>
                      <a:endParaRPr lang="es-ES" sz="11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100" dirty="0">
                          <a:solidFill>
                            <a:schemeClr val="accent1"/>
                          </a:solidFill>
                        </a:rPr>
                        <a:t>20%</a:t>
                      </a:r>
                      <a:endParaRPr lang="es-ES" sz="11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100" dirty="0">
                          <a:solidFill>
                            <a:schemeClr val="accent1"/>
                          </a:solidFill>
                        </a:rPr>
                        <a:t>4%</a:t>
                      </a:r>
                      <a:endParaRPr lang="es-ES" sz="11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8613538"/>
                  </a:ext>
                </a:extLst>
              </a:tr>
              <a:tr h="230971"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s-ES_tradnl" sz="1100" dirty="0">
                          <a:solidFill>
                            <a:schemeClr val="accent1"/>
                          </a:solidFill>
                        </a:rPr>
                        <a:t>Barrios de extrema pobreza</a:t>
                      </a:r>
                      <a:endParaRPr lang="es-ES" sz="11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100" dirty="0">
                          <a:solidFill>
                            <a:schemeClr val="accent1"/>
                          </a:solidFill>
                        </a:rPr>
                        <a:t>25,2%</a:t>
                      </a:r>
                      <a:endParaRPr lang="es-ES" sz="11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100" dirty="0">
                          <a:solidFill>
                            <a:schemeClr val="accent1"/>
                          </a:solidFill>
                        </a:rPr>
                        <a:t>7,5%</a:t>
                      </a:r>
                      <a:endParaRPr lang="es-ES" sz="11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3273679"/>
                  </a:ext>
                </a:extLst>
              </a:tr>
              <a:tr h="230971"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s-ES" sz="1100" dirty="0">
                          <a:solidFill>
                            <a:schemeClr val="accent1"/>
                          </a:solidFill>
                        </a:rPr>
                        <a:t>Tasa de propiedad de vivienda</a:t>
                      </a:r>
                    </a:p>
                  </a:txBody>
                  <a:tcP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100" dirty="0">
                          <a:solidFill>
                            <a:schemeClr val="accent1"/>
                          </a:solidFill>
                        </a:rPr>
                        <a:t>45,3%</a:t>
                      </a:r>
                      <a:endParaRPr lang="es-ES" sz="11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100" dirty="0">
                          <a:solidFill>
                            <a:schemeClr val="accent1"/>
                          </a:solidFill>
                        </a:rPr>
                        <a:t>71,3%</a:t>
                      </a:r>
                      <a:endParaRPr lang="es-ES" sz="11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092379"/>
                  </a:ext>
                </a:extLst>
              </a:tr>
              <a:tr h="244557">
                <a:tc>
                  <a:txBody>
                    <a:bodyPr/>
                    <a:lstStyle/>
                    <a:p>
                      <a:pPr algn="l"/>
                      <a:r>
                        <a:rPr lang="es-ES_tradnl" sz="1200" b="1" dirty="0">
                          <a:solidFill>
                            <a:schemeClr val="accent1"/>
                          </a:solidFill>
                        </a:rPr>
                        <a:t>Entorno alimentario</a:t>
                      </a:r>
                      <a:endParaRPr lang="es-ES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 sz="12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 sz="12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5406152"/>
                  </a:ext>
                </a:extLst>
              </a:tr>
              <a:tr h="230971"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s-ES_tradnl" sz="1100" dirty="0">
                          <a:solidFill>
                            <a:schemeClr val="accent1"/>
                          </a:solidFill>
                        </a:rPr>
                        <a:t>Inseguridad alimentaria</a:t>
                      </a:r>
                      <a:endParaRPr lang="es-ES" sz="11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100" dirty="0">
                          <a:solidFill>
                            <a:schemeClr val="accent1"/>
                          </a:solidFill>
                        </a:rPr>
                        <a:t>21,7%</a:t>
                      </a:r>
                      <a:endParaRPr lang="es-ES" sz="11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100" dirty="0">
                          <a:solidFill>
                            <a:schemeClr val="accent1"/>
                          </a:solidFill>
                        </a:rPr>
                        <a:t>7,1%</a:t>
                      </a:r>
                      <a:endParaRPr lang="es-ES" sz="11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7145243"/>
                  </a:ext>
                </a:extLst>
              </a:tr>
              <a:tr h="230971"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s-ES_tradnl" sz="1100" dirty="0">
                          <a:solidFill>
                            <a:schemeClr val="accent1"/>
                          </a:solidFill>
                        </a:rPr>
                        <a:t>Seguridad alimentaria muy baja</a:t>
                      </a:r>
                      <a:endParaRPr lang="es-ES" sz="11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100" dirty="0">
                          <a:solidFill>
                            <a:schemeClr val="accent1"/>
                          </a:solidFill>
                        </a:rPr>
                        <a:t>8%</a:t>
                      </a:r>
                      <a:endParaRPr lang="es-ES" sz="11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100" dirty="0">
                          <a:solidFill>
                            <a:schemeClr val="accent1"/>
                          </a:solidFill>
                        </a:rPr>
                        <a:t>3%</a:t>
                      </a:r>
                      <a:endParaRPr lang="es-ES" sz="11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8335434"/>
                  </a:ext>
                </a:extLst>
              </a:tr>
              <a:tr h="244557">
                <a:tc>
                  <a:txBody>
                    <a:bodyPr/>
                    <a:lstStyle/>
                    <a:p>
                      <a:pPr algn="l"/>
                      <a:r>
                        <a:rPr lang="es-ES_tradnl" sz="1200" b="1" dirty="0">
                          <a:solidFill>
                            <a:schemeClr val="accent1"/>
                          </a:solidFill>
                        </a:rPr>
                        <a:t>Atención sanitaria</a:t>
                      </a:r>
                      <a:endParaRPr lang="es-ES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 sz="120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 sz="12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5593183"/>
                  </a:ext>
                </a:extLst>
              </a:tr>
              <a:tr h="230971">
                <a:tc>
                  <a:txBody>
                    <a:bodyPr/>
                    <a:lstStyle/>
                    <a:p>
                      <a:pPr algn="l"/>
                      <a:r>
                        <a:rPr lang="es-ES" sz="1100" dirty="0">
                          <a:solidFill>
                            <a:schemeClr val="accent1"/>
                          </a:solidFill>
                        </a:rPr>
                        <a:t>Adultos en edad de trabajar sin cobertura</a:t>
                      </a:r>
                    </a:p>
                  </a:txBody>
                  <a:tcP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100" dirty="0">
                          <a:solidFill>
                            <a:schemeClr val="accent1"/>
                          </a:solidFill>
                        </a:rPr>
                        <a:t>14,2%</a:t>
                      </a:r>
                      <a:endParaRPr lang="es-ES" sz="11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100" dirty="0">
                          <a:solidFill>
                            <a:schemeClr val="accent1"/>
                          </a:solidFill>
                        </a:rPr>
                        <a:t>9%</a:t>
                      </a:r>
                      <a:endParaRPr lang="es-ES" sz="11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1438564"/>
                  </a:ext>
                </a:extLst>
              </a:tr>
            </a:tbl>
          </a:graphicData>
        </a:graphic>
      </p:graphicFrame>
      <p:sp>
        <p:nvSpPr>
          <p:cNvPr id="22" name="CuadroTexto 21">
            <a:extLst>
              <a:ext uri="{FF2B5EF4-FFF2-40B4-BE49-F238E27FC236}">
                <a16:creationId xmlns:a16="http://schemas.microsoft.com/office/drawing/2014/main" id="{DD49AC35-F829-14F9-C8FC-8D8F7A26A9B8}"/>
              </a:ext>
            </a:extLst>
          </p:cNvPr>
          <p:cNvSpPr txBox="1"/>
          <p:nvPr/>
        </p:nvSpPr>
        <p:spPr>
          <a:xfrm>
            <a:off x="7317408" y="1196571"/>
            <a:ext cx="444186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400" b="1" i="0" u="none" strike="noStrike" baseline="0">
                <a:solidFill>
                  <a:srgbClr val="000000"/>
                </a:solidFill>
                <a:latin typeface="Akzidenz Grotesk BE Bold"/>
              </a:defRPr>
            </a:lvl1pPr>
          </a:lstStyle>
          <a:p>
            <a:r>
              <a:rPr lang="es-ES" dirty="0"/>
              <a:t>Ejemplos de inequidades raciales en los determinantes sociales de la salud</a:t>
            </a:r>
            <a:r>
              <a:rPr lang="es-ES" baseline="30000" dirty="0"/>
              <a:t>1</a:t>
            </a:r>
            <a:endParaRPr lang="es-ES" dirty="0"/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CA33376A-FB03-E7A9-E158-EE9DDF9EE14C}"/>
              </a:ext>
            </a:extLst>
          </p:cNvPr>
          <p:cNvSpPr txBox="1"/>
          <p:nvPr/>
        </p:nvSpPr>
        <p:spPr>
          <a:xfrm>
            <a:off x="644958" y="1719791"/>
            <a:ext cx="5917567" cy="64633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xiste evidencia sólida de que los determinantes sociales de la salud, incluido el estatus socioeconómico y el racismo, se asocian con el riesgo y los resultados de la diabetes y con las disparidades observadas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2B9B4DEB-CD5E-8087-5784-5B8E84D74112}"/>
              </a:ext>
            </a:extLst>
          </p:cNvPr>
          <p:cNvSpPr txBox="1"/>
          <p:nvPr/>
        </p:nvSpPr>
        <p:spPr>
          <a:xfrm>
            <a:off x="7417992" y="6581696"/>
            <a:ext cx="4441867" cy="22198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dirty="0"/>
              <a:t>Current Diabetes Reports (2022) 22:117–128</a:t>
            </a:r>
            <a:endParaRPr lang="es-ES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86926612-EF8A-6155-5D10-230ECFE7B3B7}"/>
              </a:ext>
            </a:extLst>
          </p:cNvPr>
          <p:cNvSpPr txBox="1"/>
          <p:nvPr/>
        </p:nvSpPr>
        <p:spPr>
          <a:xfrm>
            <a:off x="832279" y="3218860"/>
            <a:ext cx="5849178" cy="2154436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dirty="0"/>
              <a:t>Se deben tener en cuenta la carga de complicaciones en las poblaciones infrarrepresentadas en los planes de </a:t>
            </a:r>
            <a:r>
              <a:rPr lang="es-ES" dirty="0" err="1"/>
              <a:t>tto</a:t>
            </a:r>
            <a:r>
              <a:rPr lang="es-ES" dirty="0"/>
              <a:t> personalizados</a:t>
            </a:r>
            <a:r>
              <a:rPr lang="es-ES" baseline="30000" dirty="0"/>
              <a:t>2</a:t>
            </a:r>
            <a:r>
              <a:rPr lang="es-ES" dirty="0"/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s-E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dirty="0"/>
              <a:t>La educación y el apoyo para el autocontrol de la diabetes deben adaptarse a las necesidades de las personas, teniendo en cuenta la función cognitiva, antecedentes familiares y comorbilidades, así como los factores étnicos, socioculturales, estilo de vida</a:t>
            </a:r>
            <a:r>
              <a:rPr lang="es-ES" baseline="30000" dirty="0"/>
              <a:t>3</a:t>
            </a:r>
            <a:r>
              <a:rPr lang="es-ES" dirty="0"/>
              <a:t>…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s-E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dirty="0"/>
              <a:t>Se deben utilizar medicamentos beneficiosos independientemente de la raza</a:t>
            </a:r>
            <a:r>
              <a:rPr lang="es-ES" baseline="30000" dirty="0"/>
              <a:t>2</a:t>
            </a:r>
            <a:r>
              <a:rPr lang="es-ES" dirty="0"/>
              <a:t>.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70591B01-CB4F-6F78-59B3-B95443FB6CE1}"/>
              </a:ext>
            </a:extLst>
          </p:cNvPr>
          <p:cNvSpPr txBox="1"/>
          <p:nvPr/>
        </p:nvSpPr>
        <p:spPr>
          <a:xfrm>
            <a:off x="644958" y="2725939"/>
            <a:ext cx="6036499" cy="215444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Según documentos de consenso de la ADA/EASD para el manejo de la DM: 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2E557B45-F1F7-5EC5-56FE-1230D245011E}"/>
              </a:ext>
            </a:extLst>
          </p:cNvPr>
          <p:cNvSpPr txBox="1"/>
          <p:nvPr/>
        </p:nvSpPr>
        <p:spPr>
          <a:xfrm rot="16200000">
            <a:off x="10584462" y="3677419"/>
            <a:ext cx="25370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0</a:t>
            </a:r>
            <a:endParaRPr lang="es-ES" sz="12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130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A320632C-F979-983E-0BB9-0199A114FE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>
            <a:extLst>
              <a:ext uri="{FF2B5EF4-FFF2-40B4-BE49-F238E27FC236}">
                <a16:creationId xmlns:a16="http://schemas.microsoft.com/office/drawing/2014/main" id="{AD070414-5830-E763-B522-93DF7F0BDC1E}"/>
              </a:ext>
            </a:extLst>
          </p:cNvPr>
          <p:cNvSpPr txBox="1">
            <a:spLocks/>
          </p:cNvSpPr>
          <p:nvPr/>
        </p:nvSpPr>
        <p:spPr>
          <a:xfrm>
            <a:off x="394955" y="160786"/>
            <a:ext cx="11473957" cy="467219"/>
          </a:xfrm>
          <a:prstGeom prst="rect">
            <a:avLst/>
          </a:prstGeom>
          <a:solidFill>
            <a:srgbClr val="A2E6AC"/>
          </a:solidFill>
        </p:spPr>
        <p:txBody>
          <a:bodyPr vert="horz" lIns="0" tIns="0" rIns="0" bIns="0" rtlCol="0" anchor="ctr">
            <a:normAutofit/>
          </a:bodyPr>
          <a:lstStyle>
            <a:defPPr>
              <a:defRPr lang="es-ES"/>
            </a:defPPr>
            <a:lvl1pPr marR="0" indent="0" defTabSz="91433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/>
              <a:t>Factores de riesgo cardiovascular y su manejo en raza negra:</a:t>
            </a:r>
          </a:p>
        </p:txBody>
      </p:sp>
      <p:sp>
        <p:nvSpPr>
          <p:cNvPr id="12" name="Título 1">
            <a:extLst>
              <a:ext uri="{FF2B5EF4-FFF2-40B4-BE49-F238E27FC236}">
                <a16:creationId xmlns:a16="http://schemas.microsoft.com/office/drawing/2014/main" id="{B5B9F3EC-3CE5-FEBE-3D11-5409C2CE4A17}"/>
              </a:ext>
            </a:extLst>
          </p:cNvPr>
          <p:cNvSpPr txBox="1">
            <a:spLocks/>
          </p:cNvSpPr>
          <p:nvPr/>
        </p:nvSpPr>
        <p:spPr>
          <a:xfrm>
            <a:off x="394955" y="628006"/>
            <a:ext cx="11473957" cy="516524"/>
          </a:xfrm>
          <a:prstGeom prst="rect">
            <a:avLst/>
          </a:prstGeom>
          <a:solidFill>
            <a:srgbClr val="D7F5DB"/>
          </a:solidFill>
        </p:spPr>
        <p:txBody>
          <a:bodyPr vert="horz" lIns="0" tIns="0" rIns="0" bIns="0" rtlCol="0" anchor="ctr">
            <a:normAutofit/>
          </a:bodyPr>
          <a:lstStyle>
            <a:defPPr>
              <a:defRPr lang="es-ES"/>
            </a:defPPr>
            <a:lvl1pPr marR="0" indent="0" defTabSz="91433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/>
              <a:t>Enfermedad renal crónica y eventos cardiovasculares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0C71947B-886F-BCB8-625A-7CF8E370E7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21501" y="1790926"/>
            <a:ext cx="3530868" cy="4457099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51C551CA-E7FF-5D6C-9428-72F4DCEF0296}"/>
              </a:ext>
            </a:extLst>
          </p:cNvPr>
          <p:cNvSpPr txBox="1"/>
          <p:nvPr/>
        </p:nvSpPr>
        <p:spPr>
          <a:xfrm>
            <a:off x="650987" y="4585174"/>
            <a:ext cx="5927977" cy="64633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dirty="0"/>
              <a:t>Según el estudio JHS en personas de raza negra, la combinación de enfermedad renal y diabetes se asocia con un exceso sustancial de riesgos de eventos cardiovasculares y mortalidad entre los negros</a:t>
            </a:r>
            <a:r>
              <a:rPr lang="es-ES" baseline="30000" dirty="0"/>
              <a:t>2</a:t>
            </a:r>
            <a:r>
              <a:rPr lang="es-ES" dirty="0"/>
              <a:t>.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ADB2443F-D7C8-6CF3-A259-BFCA093B46CF}"/>
              </a:ext>
            </a:extLst>
          </p:cNvPr>
          <p:cNvSpPr txBox="1"/>
          <p:nvPr/>
        </p:nvSpPr>
        <p:spPr>
          <a:xfrm>
            <a:off x="7235250" y="1221296"/>
            <a:ext cx="410337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400" b="1" i="0" u="none" strike="noStrike" baseline="0">
                <a:solidFill>
                  <a:srgbClr val="000000"/>
                </a:solidFill>
                <a:latin typeface="Akzidenz Grotesk BE Bold"/>
              </a:defRPr>
            </a:lvl1pPr>
          </a:lstStyle>
          <a:p>
            <a:r>
              <a:rPr lang="es-ES" dirty="0"/>
              <a:t>Diferencias de riesgo de eventos </a:t>
            </a:r>
            <a:r>
              <a:rPr lang="es-ES" dirty="0" err="1"/>
              <a:t>CVs</a:t>
            </a:r>
            <a:r>
              <a:rPr lang="es-ES" dirty="0"/>
              <a:t> por factor de riesgo clínico en el estudio JHS</a:t>
            </a:r>
            <a:r>
              <a:rPr lang="es-ES" baseline="30000" dirty="0"/>
              <a:t>2</a:t>
            </a:r>
            <a:endParaRPr lang="es-ES" dirty="0"/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6C92B2DA-06C4-F905-EAA6-2C54AADE6070}"/>
              </a:ext>
            </a:extLst>
          </p:cNvPr>
          <p:cNvSpPr txBox="1"/>
          <p:nvPr/>
        </p:nvSpPr>
        <p:spPr>
          <a:xfrm>
            <a:off x="650987" y="5466534"/>
            <a:ext cx="6094476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. </a:t>
            </a:r>
            <a:r>
              <a:rPr lang="es-ES" b="0" dirty="0" err="1"/>
              <a:t>Jankowski</a:t>
            </a:r>
            <a:r>
              <a:rPr lang="es-ES" b="0" dirty="0"/>
              <a:t> J, et al. Cardiovascular </a:t>
            </a:r>
            <a:r>
              <a:rPr lang="es-ES" b="0" dirty="0" err="1"/>
              <a:t>Disease</a:t>
            </a:r>
            <a:r>
              <a:rPr lang="es-ES" b="0" dirty="0"/>
              <a:t> in </a:t>
            </a:r>
            <a:r>
              <a:rPr lang="es-ES" b="0" dirty="0" err="1"/>
              <a:t>Chronic</a:t>
            </a:r>
            <a:r>
              <a:rPr lang="es-ES" b="0" dirty="0"/>
              <a:t> </a:t>
            </a:r>
            <a:r>
              <a:rPr lang="es-ES" b="0" dirty="0" err="1"/>
              <a:t>Kidney</a:t>
            </a:r>
            <a:r>
              <a:rPr lang="es-ES" b="0" dirty="0"/>
              <a:t> </a:t>
            </a:r>
            <a:r>
              <a:rPr lang="es-ES" b="0" dirty="0" err="1"/>
              <a:t>Disease</a:t>
            </a:r>
            <a:r>
              <a:rPr lang="es-ES" b="0" dirty="0"/>
              <a:t>: </a:t>
            </a:r>
            <a:r>
              <a:rPr lang="es-ES" b="0" dirty="0" err="1"/>
              <a:t>Pathophysiological</a:t>
            </a:r>
            <a:r>
              <a:rPr lang="es-ES" b="0" dirty="0"/>
              <a:t> </a:t>
            </a:r>
            <a:r>
              <a:rPr lang="es-ES" b="0" dirty="0" err="1"/>
              <a:t>Insights</a:t>
            </a:r>
            <a:r>
              <a:rPr lang="es-ES" b="0" dirty="0"/>
              <a:t> and </a:t>
            </a:r>
            <a:r>
              <a:rPr lang="es-ES" b="0" dirty="0" err="1"/>
              <a:t>Therapeutic</a:t>
            </a:r>
            <a:r>
              <a:rPr lang="es-ES" b="0" dirty="0"/>
              <a:t> </a:t>
            </a:r>
            <a:r>
              <a:rPr lang="es-ES" b="0" dirty="0" err="1"/>
              <a:t>Options</a:t>
            </a:r>
            <a:endParaRPr lang="es-ES" b="0" dirty="0"/>
          </a:p>
          <a:p>
            <a:r>
              <a:rPr lang="es-ES" b="0" dirty="0" err="1"/>
              <a:t>Circulation</a:t>
            </a:r>
            <a:r>
              <a:rPr lang="es-ES" b="0" dirty="0"/>
              <a:t> . 2021 Mar 16;143(11):1157-1172. </a:t>
            </a:r>
            <a:r>
              <a:rPr lang="es-ES" b="0" dirty="0" err="1"/>
              <a:t>doi</a:t>
            </a:r>
            <a:r>
              <a:rPr lang="es-ES" b="0" dirty="0"/>
              <a:t>: 10.1161/CIRCULATIONAHA.120.050686. </a:t>
            </a:r>
            <a:r>
              <a:rPr lang="es-ES" b="0" dirty="0" err="1"/>
              <a:t>Epub</a:t>
            </a:r>
            <a:r>
              <a:rPr lang="es-ES" b="0" dirty="0"/>
              <a:t> 2021 Mar 15. </a:t>
            </a:r>
            <a:r>
              <a:rPr lang="es-ES" dirty="0"/>
              <a:t>2</a:t>
            </a:r>
            <a:r>
              <a:rPr lang="es-ES" b="0" dirty="0"/>
              <a:t>. </a:t>
            </a:r>
            <a:r>
              <a:rPr lang="es-ES" b="0" dirty="0" err="1"/>
              <a:t>Afkarian</a:t>
            </a:r>
            <a:r>
              <a:rPr lang="es-ES" b="0" dirty="0"/>
              <a:t> M, et al. Diabetes, </a:t>
            </a:r>
            <a:r>
              <a:rPr lang="es-ES" b="0" dirty="0" err="1"/>
              <a:t>Kidney</a:t>
            </a:r>
            <a:r>
              <a:rPr lang="es-ES" b="0" dirty="0"/>
              <a:t> </a:t>
            </a:r>
            <a:r>
              <a:rPr lang="es-ES" b="0" dirty="0" err="1"/>
              <a:t>Disease</a:t>
            </a:r>
            <a:r>
              <a:rPr lang="es-ES" b="0" dirty="0"/>
              <a:t>, and Cardiovascular </a:t>
            </a:r>
            <a:r>
              <a:rPr lang="es-ES" b="0" dirty="0" err="1"/>
              <a:t>Outcomes</a:t>
            </a:r>
            <a:r>
              <a:rPr lang="es-ES" b="0" dirty="0"/>
              <a:t> in </a:t>
            </a:r>
            <a:r>
              <a:rPr lang="es-ES" b="0" dirty="0" err="1"/>
              <a:t>the</a:t>
            </a:r>
            <a:r>
              <a:rPr lang="es-ES" b="0" dirty="0"/>
              <a:t> Jackson Heart </a:t>
            </a:r>
            <a:r>
              <a:rPr lang="es-ES" b="0" dirty="0" err="1"/>
              <a:t>Study</a:t>
            </a:r>
            <a:r>
              <a:rPr lang="es-ES" b="0" dirty="0"/>
              <a:t>. Clin J Am </a:t>
            </a:r>
            <a:r>
              <a:rPr lang="es-ES" b="0" dirty="0" err="1"/>
              <a:t>Soc</a:t>
            </a:r>
            <a:r>
              <a:rPr lang="es-ES" b="0" dirty="0"/>
              <a:t> </a:t>
            </a:r>
            <a:r>
              <a:rPr lang="es-ES" b="0" dirty="0" err="1"/>
              <a:t>Nephrol</a:t>
            </a:r>
            <a:r>
              <a:rPr lang="es-ES" b="0" dirty="0"/>
              <a:t>. 2016 </a:t>
            </a:r>
            <a:r>
              <a:rPr lang="es-ES" b="0" dirty="0" err="1"/>
              <a:t>Aug</a:t>
            </a:r>
            <a:r>
              <a:rPr lang="es-ES" b="0" dirty="0"/>
              <a:t> 8;11(8):1384-1391. </a:t>
            </a:r>
            <a:r>
              <a:rPr lang="es-ES" b="0" dirty="0" err="1"/>
              <a:t>doi</a:t>
            </a:r>
            <a:r>
              <a:rPr lang="es-ES" b="0" dirty="0"/>
              <a:t>: 10.2215/CJN.13111215. </a:t>
            </a:r>
            <a:r>
              <a:rPr lang="es-ES" b="0" dirty="0" err="1"/>
              <a:t>Epub</a:t>
            </a:r>
            <a:r>
              <a:rPr lang="es-ES" b="0" dirty="0"/>
              <a:t> 2016 Jun 23.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1BA01D15-B6C3-FDEF-707E-F174F848B866}"/>
              </a:ext>
            </a:extLst>
          </p:cNvPr>
          <p:cNvSpPr txBox="1"/>
          <p:nvPr/>
        </p:nvSpPr>
        <p:spPr>
          <a:xfrm>
            <a:off x="650987" y="1574346"/>
            <a:ext cx="5950981" cy="43088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L="285750" marR="0" indent="-28575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os pacientes con enfermedad renal crónica (ERC) presentan un riesgo cardiovascular elevado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8BEF7151-FE0E-DAA5-B4C0-0917DE9ACA9A}"/>
              </a:ext>
            </a:extLst>
          </p:cNvPr>
          <p:cNvSpPr txBox="1"/>
          <p:nvPr/>
        </p:nvSpPr>
        <p:spPr>
          <a:xfrm>
            <a:off x="627983" y="2343609"/>
            <a:ext cx="5950981" cy="1938992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s-ES"/>
            </a:defPPr>
            <a:lvl1pPr marL="285750" marR="0" indent="-28575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a ERC puede llevar a una ECV causando un estado proinflamatorio crónico sistémico que contribuye a los procesos de remodelación vascular y miocárdica que dan lugar a</a:t>
            </a:r>
            <a:r>
              <a:rPr lang="es-ES" baseline="30000" dirty="0"/>
              <a:t>1</a:t>
            </a:r>
            <a:r>
              <a:rPr lang="es-ES" dirty="0"/>
              <a:t>:</a:t>
            </a:r>
          </a:p>
          <a:p>
            <a:endParaRPr lang="es-E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lesiones ateroscleróticas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calcificación vascular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senescencia vascula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fibrosis miocárdica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calcificación de las válvulas cardíacas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A8FF2B50-A12B-C1F6-2195-941D92AFAB7C}"/>
              </a:ext>
            </a:extLst>
          </p:cNvPr>
          <p:cNvSpPr txBox="1"/>
          <p:nvPr/>
        </p:nvSpPr>
        <p:spPr>
          <a:xfrm rot="16200000">
            <a:off x="10584462" y="3677419"/>
            <a:ext cx="25370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0</a:t>
            </a:r>
            <a:endParaRPr lang="es-ES" sz="12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1242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89BB2FF0-F1A4-A8F5-B6F4-671D211E2B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>
            <a:extLst>
              <a:ext uri="{FF2B5EF4-FFF2-40B4-BE49-F238E27FC236}">
                <a16:creationId xmlns:a16="http://schemas.microsoft.com/office/drawing/2014/main" id="{4775A59B-16FA-F4EE-B7F5-A495D5963F2C}"/>
              </a:ext>
            </a:extLst>
          </p:cNvPr>
          <p:cNvSpPr txBox="1">
            <a:spLocks/>
          </p:cNvSpPr>
          <p:nvPr/>
        </p:nvSpPr>
        <p:spPr>
          <a:xfrm>
            <a:off x="394955" y="160786"/>
            <a:ext cx="11473957" cy="467219"/>
          </a:xfrm>
          <a:prstGeom prst="rect">
            <a:avLst/>
          </a:prstGeom>
          <a:solidFill>
            <a:srgbClr val="A2E6AC"/>
          </a:solidFill>
        </p:spPr>
        <p:txBody>
          <a:bodyPr vert="horz" lIns="0" tIns="0" rIns="0" bIns="0" rtlCol="0" anchor="ctr">
            <a:normAutofit/>
          </a:bodyPr>
          <a:lstStyle>
            <a:defPPr>
              <a:defRPr lang="es-ES"/>
            </a:defPPr>
            <a:lvl1pPr marR="0" indent="0" defTabSz="91433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/>
              <a:t>Factores de riesgo cardiovascular y su manejo en raza negra:</a:t>
            </a:r>
          </a:p>
        </p:txBody>
      </p:sp>
      <p:sp>
        <p:nvSpPr>
          <p:cNvPr id="12" name="Título 1">
            <a:extLst>
              <a:ext uri="{FF2B5EF4-FFF2-40B4-BE49-F238E27FC236}">
                <a16:creationId xmlns:a16="http://schemas.microsoft.com/office/drawing/2014/main" id="{018888BA-D01D-824D-E6AE-A51A79E755C0}"/>
              </a:ext>
            </a:extLst>
          </p:cNvPr>
          <p:cNvSpPr txBox="1">
            <a:spLocks/>
          </p:cNvSpPr>
          <p:nvPr/>
        </p:nvSpPr>
        <p:spPr>
          <a:xfrm>
            <a:off x="394955" y="628006"/>
            <a:ext cx="11473957" cy="516524"/>
          </a:xfrm>
          <a:prstGeom prst="rect">
            <a:avLst/>
          </a:prstGeom>
          <a:solidFill>
            <a:srgbClr val="D7F5DB"/>
          </a:solidFill>
        </p:spPr>
        <p:txBody>
          <a:bodyPr vert="horz" lIns="0" tIns="0" rIns="0" bIns="0" rtlCol="0" anchor="ctr">
            <a:normAutofit/>
          </a:bodyPr>
          <a:lstStyle>
            <a:defPPr>
              <a:defRPr lang="es-ES"/>
            </a:defPPr>
            <a:lvl1pPr marR="0" indent="0" defTabSz="91433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/>
              <a:t>Enfermedad renal crónica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51E38975-5D08-7766-509D-14FAFD06A874}"/>
              </a:ext>
            </a:extLst>
          </p:cNvPr>
          <p:cNvSpPr txBox="1"/>
          <p:nvPr/>
        </p:nvSpPr>
        <p:spPr>
          <a:xfrm>
            <a:off x="3255207" y="5798491"/>
            <a:ext cx="6097508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. </a:t>
            </a:r>
            <a:r>
              <a:rPr lang="en-US" b="0" dirty="0"/>
              <a:t>Martin SS, et al. 2025 Heart Disease and Stroke Statistics: A Report of US and Global Data From the American Heart Association. </a:t>
            </a:r>
            <a:r>
              <a:rPr lang="pt-BR" b="0" dirty="0" err="1"/>
              <a:t>Circulation</a:t>
            </a:r>
            <a:r>
              <a:rPr lang="pt-BR" b="0" dirty="0"/>
              <a:t>. 2025 </a:t>
            </a:r>
            <a:r>
              <a:rPr lang="pt-BR" b="0" dirty="0" err="1"/>
              <a:t>Feb</a:t>
            </a:r>
            <a:r>
              <a:rPr lang="pt-BR" b="0" dirty="0"/>
              <a:t> 25;151(8):e41-e660. </a:t>
            </a:r>
            <a:endParaRPr lang="es-ES" b="0" dirty="0"/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C5D083DC-21D0-565F-1A44-2B0FEC1FB1F0}"/>
              </a:ext>
            </a:extLst>
          </p:cNvPr>
          <p:cNvSpPr txBox="1"/>
          <p:nvPr/>
        </p:nvSpPr>
        <p:spPr>
          <a:xfrm>
            <a:off x="486394" y="1631148"/>
            <a:ext cx="11473957" cy="246221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s-ES"/>
            </a:defPPr>
            <a:lvl1pPr marL="285750" marR="0" indent="-28575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pPr marL="0" indent="0">
              <a:buNone/>
            </a:pPr>
            <a:r>
              <a:rPr lang="es-ES_tradnl" sz="1600" dirty="0"/>
              <a:t>Las prevalencias más altas en raza negra frente a la blanca e hispana están en:</a:t>
            </a:r>
            <a:endParaRPr lang="es-ES" sz="1600" dirty="0"/>
          </a:p>
        </p:txBody>
      </p:sp>
      <p:pic>
        <p:nvPicPr>
          <p:cNvPr id="27" name="Imagen 26">
            <a:extLst>
              <a:ext uri="{FF2B5EF4-FFF2-40B4-BE49-F238E27FC236}">
                <a16:creationId xmlns:a16="http://schemas.microsoft.com/office/drawing/2014/main" id="{361208AE-2EC4-AFA4-B89E-5161AC7CC8F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13946"/>
          <a:stretch/>
        </p:blipFill>
        <p:spPr>
          <a:xfrm>
            <a:off x="6773863" y="2834279"/>
            <a:ext cx="4735393" cy="2369597"/>
          </a:xfrm>
          <a:prstGeom prst="rect">
            <a:avLst/>
          </a:prstGeom>
        </p:spPr>
      </p:pic>
      <p:sp>
        <p:nvSpPr>
          <p:cNvPr id="29" name="CuadroTexto 28">
            <a:extLst>
              <a:ext uri="{FF2B5EF4-FFF2-40B4-BE49-F238E27FC236}">
                <a16:creationId xmlns:a16="http://schemas.microsoft.com/office/drawing/2014/main" id="{D871A656-F5BA-E458-560E-8B3AAEE034EF}"/>
              </a:ext>
            </a:extLst>
          </p:cNvPr>
          <p:cNvSpPr txBox="1"/>
          <p:nvPr/>
        </p:nvSpPr>
        <p:spPr>
          <a:xfrm>
            <a:off x="972312" y="2111790"/>
            <a:ext cx="5492496" cy="43088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s-ES"/>
            </a:defPPr>
            <a:lvl1pPr marL="285750" marR="0" indent="-28575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a relación albúmina/creatinina ≥30 mg/g:  13,5 % (vs 9,2% y 10,9%)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F92209B8-0FBC-3D99-7A0B-3BBE0D487E54}"/>
              </a:ext>
            </a:extLst>
          </p:cNvPr>
          <p:cNvSpPr txBox="1"/>
          <p:nvPr/>
        </p:nvSpPr>
        <p:spPr>
          <a:xfrm>
            <a:off x="972312" y="2739619"/>
            <a:ext cx="5492496" cy="430886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s-ES"/>
            </a:defPPr>
            <a:lvl1pPr marL="285750" marR="0" indent="-28575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Un </a:t>
            </a:r>
            <a:r>
              <a:rPr lang="es-ES" dirty="0" err="1"/>
              <a:t>TFGe</a:t>
            </a:r>
            <a:r>
              <a:rPr lang="es-ES" dirty="0"/>
              <a:t> &lt;60 mL·min-1,73 m-2, calculada con las ecuaciones de </a:t>
            </a:r>
            <a:r>
              <a:rPr lang="es-ES" dirty="0" err="1"/>
              <a:t>TFGe</a:t>
            </a:r>
            <a:r>
              <a:rPr lang="es-ES" dirty="0"/>
              <a:t> sin el coeficiente de raza: 9,1 % (vs 6,3 % y 2,2%)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F429C043-5618-3FCF-3A6D-EDE87C761F85}"/>
              </a:ext>
            </a:extLst>
          </p:cNvPr>
          <p:cNvSpPr txBox="1"/>
          <p:nvPr/>
        </p:nvSpPr>
        <p:spPr>
          <a:xfrm>
            <a:off x="972312" y="3971169"/>
            <a:ext cx="5492496" cy="43088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s-ES"/>
            </a:defPPr>
            <a:lvl1pPr marL="285750" marR="0" indent="-28575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a prevalencia general de enfermedad renal crónica (ERC): 18.8% (vs 12,1% y 12%)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8C268879-EB97-F7BC-612B-AFB9878711CA}"/>
              </a:ext>
            </a:extLst>
          </p:cNvPr>
          <p:cNvSpPr txBox="1"/>
          <p:nvPr/>
        </p:nvSpPr>
        <p:spPr>
          <a:xfrm>
            <a:off x="6890831" y="2311059"/>
            <a:ext cx="448970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400" b="1" i="0" u="none" strike="noStrike" baseline="0">
                <a:solidFill>
                  <a:srgbClr val="000000"/>
                </a:solidFill>
                <a:latin typeface="Akzidenz Grotesk BE Bold"/>
              </a:defRPr>
            </a:lvl1pPr>
          </a:lstStyle>
          <a:p>
            <a:r>
              <a:rPr lang="es-ES" dirty="0"/>
              <a:t>Prevalencia por grupo racial, de la enfermedad renal crónica de etapa final, en los EEUU entre 2020 y 2021</a:t>
            </a:r>
            <a:r>
              <a:rPr lang="es-ES" baseline="30000" dirty="0"/>
              <a:t>1</a:t>
            </a:r>
            <a:endParaRPr lang="es-ES" dirty="0"/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BC7D4605-DA68-CAB5-31D6-21579051F441}"/>
              </a:ext>
            </a:extLst>
          </p:cNvPr>
          <p:cNvSpPr txBox="1"/>
          <p:nvPr/>
        </p:nvSpPr>
        <p:spPr>
          <a:xfrm>
            <a:off x="972312" y="4576911"/>
            <a:ext cx="5708207" cy="215444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s-ES"/>
            </a:defPPr>
            <a:lvl1pPr marL="285750" marR="0" indent="-28575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l aumento de la prevalencia de ERC estadio 3 y 4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39" name="CuadroTexto 38">
            <a:extLst>
              <a:ext uri="{FF2B5EF4-FFF2-40B4-BE49-F238E27FC236}">
                <a16:creationId xmlns:a16="http://schemas.microsoft.com/office/drawing/2014/main" id="{81A26495-530E-A69A-326B-013EE8047FDF}"/>
              </a:ext>
            </a:extLst>
          </p:cNvPr>
          <p:cNvSpPr txBox="1"/>
          <p:nvPr/>
        </p:nvSpPr>
        <p:spPr>
          <a:xfrm>
            <a:off x="972312" y="5102354"/>
            <a:ext cx="5461319" cy="43088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s-ES"/>
            </a:defPPr>
            <a:lvl1pPr marL="285750" marR="0" indent="-28575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a prevalencia de enfermedad renal </a:t>
            </a:r>
            <a:r>
              <a:rPr lang="es-ES" dirty="0" err="1"/>
              <a:t>cróncia</a:t>
            </a:r>
            <a:r>
              <a:rPr lang="es-ES" dirty="0"/>
              <a:t> de etapa final (ESRD). Incidencia 3,8 veces más alta en negros vs blancos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41" name="CuadroTexto 40">
            <a:extLst>
              <a:ext uri="{FF2B5EF4-FFF2-40B4-BE49-F238E27FC236}">
                <a16:creationId xmlns:a16="http://schemas.microsoft.com/office/drawing/2014/main" id="{A273ABC4-F076-E53F-2B28-27788B251517}"/>
              </a:ext>
            </a:extLst>
          </p:cNvPr>
          <p:cNvSpPr txBox="1"/>
          <p:nvPr/>
        </p:nvSpPr>
        <p:spPr>
          <a:xfrm>
            <a:off x="972311" y="3384888"/>
            <a:ext cx="5492497" cy="43088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s-ES"/>
            </a:defPPr>
            <a:lvl1pPr marL="285750" marR="0" indent="-28575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a albuminuria se asoció más fuertemente con el cambio de la </a:t>
            </a:r>
            <a:r>
              <a:rPr lang="es-ES" dirty="0" err="1"/>
              <a:t>TFGe</a:t>
            </a:r>
            <a:r>
              <a:rPr lang="es-ES" dirty="0"/>
              <a:t> en los participantes negros vs blancos</a:t>
            </a:r>
            <a:r>
              <a:rPr lang="es-ES" baseline="30000" dirty="0"/>
              <a:t> 1</a:t>
            </a:r>
            <a:r>
              <a:rPr lang="es-ES" dirty="0"/>
              <a:t>.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14ED63EA-E5B2-CAA0-D8AF-74AD9487B85A}"/>
              </a:ext>
            </a:extLst>
          </p:cNvPr>
          <p:cNvSpPr txBox="1"/>
          <p:nvPr/>
        </p:nvSpPr>
        <p:spPr>
          <a:xfrm rot="16200000">
            <a:off x="10584462" y="3677419"/>
            <a:ext cx="25370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0</a:t>
            </a:r>
            <a:endParaRPr lang="es-ES" sz="12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4576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9CF65F9-3145-38B0-95A9-D1B0F51AB079}"/>
              </a:ext>
            </a:extLst>
          </p:cNvPr>
          <p:cNvSpPr/>
          <p:nvPr/>
        </p:nvSpPr>
        <p:spPr>
          <a:xfrm>
            <a:off x="309282" y="927847"/>
            <a:ext cx="11698942" cy="3630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9E26BC82-7F4B-8B8B-1292-37778CBC15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0483" y="578456"/>
            <a:ext cx="9091034" cy="5886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3819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3C68258F-8B65-C81E-08F3-97C139E7D0A5}"/>
              </a:ext>
            </a:extLst>
          </p:cNvPr>
          <p:cNvSpPr txBox="1"/>
          <p:nvPr/>
        </p:nvSpPr>
        <p:spPr>
          <a:xfrm>
            <a:off x="294611" y="1363784"/>
            <a:ext cx="11611399" cy="492443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l Colegio Americano de Cardiología y la Asociación Americana del Corazón formularon ecuaciones específicas por sexo y raza, las ecuaciones de cohorte agrupadas (PCE), para estimar el RCV utilizando cohortes representativas de raza blanca y negra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446FD866-3791-B8C6-8348-71DCD4A0FC48}"/>
              </a:ext>
            </a:extLst>
          </p:cNvPr>
          <p:cNvSpPr txBox="1"/>
          <p:nvPr/>
        </p:nvSpPr>
        <p:spPr>
          <a:xfrm>
            <a:off x="2496312" y="6343324"/>
            <a:ext cx="7572756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b="1" dirty="0"/>
              <a:t>1</a:t>
            </a:r>
            <a:r>
              <a:rPr lang="es-ES" dirty="0"/>
              <a:t>. </a:t>
            </a:r>
            <a:r>
              <a:rPr lang="es-ES" dirty="0" err="1"/>
              <a:t>Vasan</a:t>
            </a:r>
            <a:r>
              <a:rPr lang="es-ES" dirty="0"/>
              <a:t> RS, van den </a:t>
            </a:r>
            <a:r>
              <a:rPr lang="es-ES" dirty="0" err="1"/>
              <a:t>Heuvel</a:t>
            </a:r>
            <a:r>
              <a:rPr lang="es-ES" dirty="0"/>
              <a:t> E, </a:t>
            </a:r>
            <a:r>
              <a:rPr lang="es-ES" dirty="0" err="1"/>
              <a:t>Differences</a:t>
            </a:r>
            <a:r>
              <a:rPr lang="es-ES" dirty="0"/>
              <a:t> in </a:t>
            </a:r>
            <a:r>
              <a:rPr lang="es-ES" dirty="0" err="1"/>
              <a:t>estimates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10-year </a:t>
            </a:r>
            <a:r>
              <a:rPr lang="es-ES" dirty="0" err="1"/>
              <a:t>risk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cardiovascular </a:t>
            </a:r>
            <a:r>
              <a:rPr lang="es-ES" dirty="0" err="1"/>
              <a:t>disease</a:t>
            </a:r>
            <a:r>
              <a:rPr lang="es-ES" dirty="0"/>
              <a:t> in Black versus White </a:t>
            </a:r>
            <a:r>
              <a:rPr lang="es-ES" dirty="0" err="1"/>
              <a:t>individuals</a:t>
            </a:r>
            <a:r>
              <a:rPr lang="es-ES" dirty="0"/>
              <a:t> </a:t>
            </a:r>
            <a:r>
              <a:rPr lang="es-ES" dirty="0" err="1"/>
              <a:t>with</a:t>
            </a:r>
            <a:r>
              <a:rPr lang="es-ES" dirty="0"/>
              <a:t> </a:t>
            </a:r>
            <a:r>
              <a:rPr lang="es-ES" dirty="0" err="1"/>
              <a:t>identical</a:t>
            </a:r>
            <a:r>
              <a:rPr lang="es-ES" dirty="0"/>
              <a:t> </a:t>
            </a:r>
            <a:r>
              <a:rPr lang="es-ES" dirty="0" err="1"/>
              <a:t>risk</a:t>
            </a:r>
            <a:r>
              <a:rPr lang="es-ES" dirty="0"/>
              <a:t> factor </a:t>
            </a:r>
            <a:r>
              <a:rPr lang="es-ES" dirty="0" err="1"/>
              <a:t>profiles</a:t>
            </a:r>
            <a:r>
              <a:rPr lang="es-ES" dirty="0"/>
              <a:t> </a:t>
            </a:r>
            <a:r>
              <a:rPr lang="es-ES" dirty="0" err="1"/>
              <a:t>using</a:t>
            </a:r>
            <a:r>
              <a:rPr lang="es-ES" dirty="0"/>
              <a:t> </a:t>
            </a:r>
            <a:r>
              <a:rPr lang="es-ES" dirty="0" err="1"/>
              <a:t>pooled</a:t>
            </a:r>
            <a:r>
              <a:rPr lang="es-ES" dirty="0"/>
              <a:t> </a:t>
            </a:r>
            <a:r>
              <a:rPr lang="es-ES" dirty="0" err="1"/>
              <a:t>cohort</a:t>
            </a:r>
            <a:r>
              <a:rPr lang="es-ES" dirty="0"/>
              <a:t> </a:t>
            </a:r>
            <a:r>
              <a:rPr lang="es-ES" dirty="0" err="1"/>
              <a:t>equations</a:t>
            </a:r>
            <a:r>
              <a:rPr lang="es-ES" dirty="0"/>
              <a:t>: </a:t>
            </a:r>
            <a:r>
              <a:rPr lang="es-ES" dirty="0" err="1"/>
              <a:t>an</a:t>
            </a:r>
            <a:r>
              <a:rPr lang="es-ES" dirty="0"/>
              <a:t> in </a:t>
            </a:r>
            <a:r>
              <a:rPr lang="es-ES" dirty="0" err="1"/>
              <a:t>silico</a:t>
            </a:r>
            <a:r>
              <a:rPr lang="es-ES" dirty="0"/>
              <a:t> </a:t>
            </a:r>
            <a:r>
              <a:rPr lang="es-ES" dirty="0" err="1"/>
              <a:t>cohort</a:t>
            </a:r>
            <a:r>
              <a:rPr lang="es-ES" dirty="0"/>
              <a:t> </a:t>
            </a:r>
            <a:r>
              <a:rPr lang="es-ES" dirty="0" err="1"/>
              <a:t>study</a:t>
            </a:r>
            <a:r>
              <a:rPr lang="es-ES" dirty="0"/>
              <a:t>. </a:t>
            </a:r>
            <a:r>
              <a:rPr lang="en-US" dirty="0"/>
              <a:t>Lancet Digit Health 2022; 4: e55–63</a:t>
            </a:r>
            <a:endParaRPr lang="es-ES" dirty="0"/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3B34B51A-8BDB-D487-9895-9A505DEF287A}"/>
              </a:ext>
            </a:extLst>
          </p:cNvPr>
          <p:cNvSpPr txBox="1"/>
          <p:nvPr/>
        </p:nvSpPr>
        <p:spPr>
          <a:xfrm>
            <a:off x="277368" y="2072893"/>
            <a:ext cx="11519677" cy="24622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n un estudio</a:t>
            </a:r>
            <a:r>
              <a:rPr lang="es-ES" baseline="30000" dirty="0"/>
              <a:t>1</a:t>
            </a:r>
            <a:r>
              <a:rPr lang="es-ES" dirty="0"/>
              <a:t> evaluando si el uso del PCE podría dar lugar a decisiones clínicas diferentes entre razas, se describe que:</a:t>
            </a:r>
          </a:p>
        </p:txBody>
      </p:sp>
      <p:sp>
        <p:nvSpPr>
          <p:cNvPr id="14" name="Rectángulo: esquinas redondeadas 13">
            <a:extLst>
              <a:ext uri="{FF2B5EF4-FFF2-40B4-BE49-F238E27FC236}">
                <a16:creationId xmlns:a16="http://schemas.microsoft.com/office/drawing/2014/main" id="{C3378944-B228-6EF9-F10B-EAB80066B893}"/>
              </a:ext>
            </a:extLst>
          </p:cNvPr>
          <p:cNvSpPr/>
          <p:nvPr/>
        </p:nvSpPr>
        <p:spPr>
          <a:xfrm>
            <a:off x="394955" y="2567431"/>
            <a:ext cx="11402089" cy="950976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dirty="0"/>
              <a:t>La PCE puede conducir a diferencias sustanciales y biológicamente inconcebibles en el RCV previsto para las personas de raza negra frente a las blancas que tienen perfiles de factores de riesgo idénticos. Las diferencias podrían ser clínicamente significativas, y podrían dar lugar a diferentes decisiones de tratamiento basados únicamente en la raza</a:t>
            </a:r>
            <a:r>
              <a:rPr lang="es-ES" sz="1600" baseline="30000" dirty="0"/>
              <a:t>1</a:t>
            </a:r>
            <a:r>
              <a:rPr lang="es-ES" sz="1600" dirty="0"/>
              <a:t>.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4AA371BE-6646-71FF-9E1D-990F939CB411}"/>
              </a:ext>
            </a:extLst>
          </p:cNvPr>
          <p:cNvSpPr txBox="1"/>
          <p:nvPr/>
        </p:nvSpPr>
        <p:spPr>
          <a:xfrm>
            <a:off x="277368" y="3780793"/>
            <a:ext cx="11519677" cy="492443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s ampliamente demostrado que la raza se asocia con inequidades en salud, en parte mediada por "la exposición o vulnerabilidad a factores y recursos de riesgo conductuales, psicosociales, materiales o ambientales"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CB9F8971-440C-CED3-91B1-9A7A1F0BE76F}"/>
              </a:ext>
            </a:extLst>
          </p:cNvPr>
          <p:cNvSpPr txBox="1"/>
          <p:nvPr/>
        </p:nvSpPr>
        <p:spPr>
          <a:xfrm>
            <a:off x="262867" y="4442161"/>
            <a:ext cx="11611399" cy="49244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Por lo tanto, las diferencias en las estimaciones basadas en PCE podrían ser un sustituto del racismo estructural, las diferencias en el acceso a la atención médica, los logros educativos y los desafíos económicos, y otras fuentes de inequidades en la salud</a:t>
            </a:r>
            <a:r>
              <a:rPr lang="es-ES" baseline="30000" dirty="0"/>
              <a:t>1</a:t>
            </a:r>
            <a:r>
              <a:rPr lang="es-ES" dirty="0"/>
              <a:t>. </a:t>
            </a:r>
          </a:p>
        </p:txBody>
      </p:sp>
      <p:sp>
        <p:nvSpPr>
          <p:cNvPr id="19" name="Rectángulo: esquinas redondeadas 18">
            <a:extLst>
              <a:ext uri="{FF2B5EF4-FFF2-40B4-BE49-F238E27FC236}">
                <a16:creationId xmlns:a16="http://schemas.microsoft.com/office/drawing/2014/main" id="{5F101939-4CDA-99DD-3981-49A199091D19}"/>
              </a:ext>
            </a:extLst>
          </p:cNvPr>
          <p:cNvSpPr/>
          <p:nvPr/>
        </p:nvSpPr>
        <p:spPr>
          <a:xfrm>
            <a:off x="336161" y="5142126"/>
            <a:ext cx="11402089" cy="950976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dirty="0"/>
              <a:t>Al usar la raza en el PCE, podríamos estar normalizando y legitimando un constructo social como un clasificador médicamente válido (negro vs blanco), lo que lleva a equiparar las diferencias relacionadas con la raza con las diferencias biológicas reales en la susceptibilidad a la enfermedad</a:t>
            </a:r>
            <a:r>
              <a:rPr lang="es-ES" sz="1600" baseline="30000" dirty="0"/>
              <a:t>1</a:t>
            </a:r>
            <a:r>
              <a:rPr lang="es-ES" sz="1600" dirty="0"/>
              <a:t>.</a:t>
            </a:r>
            <a:endParaRPr lang="es-ES" sz="1600" dirty="0">
              <a:solidFill>
                <a:schemeClr val="accent1"/>
              </a:solidFill>
            </a:endParaRPr>
          </a:p>
        </p:txBody>
      </p:sp>
      <p:sp>
        <p:nvSpPr>
          <p:cNvPr id="20" name="Título 1">
            <a:extLst>
              <a:ext uri="{FF2B5EF4-FFF2-40B4-BE49-F238E27FC236}">
                <a16:creationId xmlns:a16="http://schemas.microsoft.com/office/drawing/2014/main" id="{03EF1A2E-9619-99D0-B5EE-8E4D589154BA}"/>
              </a:ext>
            </a:extLst>
          </p:cNvPr>
          <p:cNvSpPr txBox="1">
            <a:spLocks/>
          </p:cNvSpPr>
          <p:nvPr/>
        </p:nvSpPr>
        <p:spPr>
          <a:xfrm>
            <a:off x="432053" y="143994"/>
            <a:ext cx="11473957" cy="467219"/>
          </a:xfrm>
          <a:prstGeom prst="rect">
            <a:avLst/>
          </a:prstGeom>
          <a:solidFill>
            <a:schemeClr val="accent5"/>
          </a:solidFill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dirty="0"/>
              <a:t>La inclusión de la raza en la estimación del riesgo cardiovascular</a:t>
            </a:r>
          </a:p>
        </p:txBody>
      </p:sp>
      <p:sp>
        <p:nvSpPr>
          <p:cNvPr id="21" name="Título 1">
            <a:extLst>
              <a:ext uri="{FF2B5EF4-FFF2-40B4-BE49-F238E27FC236}">
                <a16:creationId xmlns:a16="http://schemas.microsoft.com/office/drawing/2014/main" id="{AE4DF572-8C82-800D-737E-1049AFF6C6E9}"/>
              </a:ext>
            </a:extLst>
          </p:cNvPr>
          <p:cNvSpPr txBox="1">
            <a:spLocks/>
          </p:cNvSpPr>
          <p:nvPr/>
        </p:nvSpPr>
        <p:spPr>
          <a:xfrm>
            <a:off x="432053" y="611214"/>
            <a:ext cx="11473957" cy="51652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lIns="0" tIns="0" rIns="0" bIns="0" rtlCol="0" anchor="ctr">
            <a:normAutofit/>
          </a:bodyPr>
          <a:lstStyle>
            <a:defPPr>
              <a:defRPr lang="es-ES"/>
            </a:defPPr>
            <a:lvl1pPr marR="0" indent="0" defTabSz="91433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/>
              <a:t>Calculadoras de RCV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2F72F663-1C3A-FC9D-68A4-64FF9ACA1BD3}"/>
              </a:ext>
            </a:extLst>
          </p:cNvPr>
          <p:cNvSpPr txBox="1"/>
          <p:nvPr/>
        </p:nvSpPr>
        <p:spPr>
          <a:xfrm rot="16200000">
            <a:off x="10744260" y="3538876"/>
            <a:ext cx="25370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0</a:t>
            </a:r>
            <a:endParaRPr lang="es-ES" sz="12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065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0A7CC0FB-F589-E328-9123-C8EFAD5FD835}"/>
              </a:ext>
            </a:extLst>
          </p:cNvPr>
          <p:cNvSpPr txBox="1"/>
          <p:nvPr/>
        </p:nvSpPr>
        <p:spPr>
          <a:xfrm>
            <a:off x="1346712" y="5470780"/>
            <a:ext cx="9341360" cy="95410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b="1" dirty="0"/>
              <a:t>1</a:t>
            </a:r>
            <a:r>
              <a:rPr lang="es-ES" dirty="0"/>
              <a:t>. </a:t>
            </a:r>
            <a:r>
              <a:rPr lang="es-ES" dirty="0" err="1"/>
              <a:t>Vasan</a:t>
            </a:r>
            <a:r>
              <a:rPr lang="es-ES" dirty="0"/>
              <a:t> RS, van den </a:t>
            </a:r>
            <a:r>
              <a:rPr lang="es-ES" dirty="0" err="1"/>
              <a:t>Heuvel</a:t>
            </a:r>
            <a:r>
              <a:rPr lang="es-ES" dirty="0"/>
              <a:t> E, </a:t>
            </a:r>
            <a:r>
              <a:rPr lang="es-ES" dirty="0" err="1"/>
              <a:t>Differences</a:t>
            </a:r>
            <a:r>
              <a:rPr lang="es-ES" dirty="0"/>
              <a:t> in </a:t>
            </a:r>
            <a:r>
              <a:rPr lang="es-ES" dirty="0" err="1"/>
              <a:t>estimates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10-year </a:t>
            </a:r>
            <a:r>
              <a:rPr lang="es-ES" dirty="0" err="1"/>
              <a:t>risk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cardiovascular </a:t>
            </a:r>
            <a:r>
              <a:rPr lang="es-ES" dirty="0" err="1"/>
              <a:t>disease</a:t>
            </a:r>
            <a:r>
              <a:rPr lang="es-ES" dirty="0"/>
              <a:t> in Black versus White </a:t>
            </a:r>
            <a:r>
              <a:rPr lang="es-ES" dirty="0" err="1"/>
              <a:t>individuals</a:t>
            </a:r>
            <a:r>
              <a:rPr lang="es-ES" dirty="0"/>
              <a:t> </a:t>
            </a:r>
            <a:r>
              <a:rPr lang="es-ES" dirty="0" err="1"/>
              <a:t>with</a:t>
            </a:r>
            <a:r>
              <a:rPr lang="es-ES" dirty="0"/>
              <a:t> </a:t>
            </a:r>
            <a:r>
              <a:rPr lang="es-ES" dirty="0" err="1"/>
              <a:t>identical</a:t>
            </a:r>
            <a:r>
              <a:rPr lang="es-ES" dirty="0"/>
              <a:t> </a:t>
            </a:r>
            <a:r>
              <a:rPr lang="es-ES" dirty="0" err="1"/>
              <a:t>risk</a:t>
            </a:r>
            <a:r>
              <a:rPr lang="es-ES" dirty="0"/>
              <a:t> factor </a:t>
            </a:r>
            <a:r>
              <a:rPr lang="es-ES" dirty="0" err="1"/>
              <a:t>profiles</a:t>
            </a:r>
            <a:r>
              <a:rPr lang="es-ES" dirty="0"/>
              <a:t> </a:t>
            </a:r>
            <a:r>
              <a:rPr lang="es-ES" dirty="0" err="1"/>
              <a:t>using</a:t>
            </a:r>
            <a:r>
              <a:rPr lang="es-ES" dirty="0"/>
              <a:t> </a:t>
            </a:r>
            <a:r>
              <a:rPr lang="es-ES" dirty="0" err="1"/>
              <a:t>pooled</a:t>
            </a:r>
            <a:r>
              <a:rPr lang="es-ES" dirty="0"/>
              <a:t> </a:t>
            </a:r>
            <a:r>
              <a:rPr lang="es-ES" dirty="0" err="1"/>
              <a:t>cohort</a:t>
            </a:r>
            <a:r>
              <a:rPr lang="es-ES" dirty="0"/>
              <a:t> </a:t>
            </a:r>
            <a:r>
              <a:rPr lang="es-ES" dirty="0" err="1"/>
              <a:t>equations</a:t>
            </a:r>
            <a:r>
              <a:rPr lang="es-ES" dirty="0"/>
              <a:t>: </a:t>
            </a:r>
            <a:r>
              <a:rPr lang="es-ES" dirty="0" err="1"/>
              <a:t>an</a:t>
            </a:r>
            <a:r>
              <a:rPr lang="es-ES" dirty="0"/>
              <a:t> in </a:t>
            </a:r>
            <a:r>
              <a:rPr lang="es-ES" dirty="0" err="1"/>
              <a:t>silico</a:t>
            </a:r>
            <a:r>
              <a:rPr lang="es-ES" dirty="0"/>
              <a:t> </a:t>
            </a:r>
            <a:r>
              <a:rPr lang="es-ES" dirty="0" err="1"/>
              <a:t>cohort</a:t>
            </a:r>
            <a:r>
              <a:rPr lang="es-ES" dirty="0"/>
              <a:t> </a:t>
            </a:r>
            <a:r>
              <a:rPr lang="es-ES" dirty="0" err="1"/>
              <a:t>study</a:t>
            </a:r>
            <a:r>
              <a:rPr lang="es-ES" dirty="0"/>
              <a:t>. </a:t>
            </a:r>
            <a:r>
              <a:rPr lang="en-US" dirty="0"/>
              <a:t>Lancet Digit Health 2022; 4: e55–63. </a:t>
            </a:r>
            <a:r>
              <a:rPr lang="en-US" b="1" dirty="0"/>
              <a:t>2</a:t>
            </a:r>
            <a:r>
              <a:rPr lang="en-US" dirty="0"/>
              <a:t>. </a:t>
            </a:r>
            <a:r>
              <a:rPr lang="en-US" dirty="0" err="1"/>
              <a:t>Pennells</a:t>
            </a:r>
            <a:r>
              <a:rPr lang="en-US" dirty="0"/>
              <a:t> L, et al. SCORE2-Diabetes: 10-year cardiovascular risk estimation in type 2 diabetes in Europe. </a:t>
            </a:r>
            <a:r>
              <a:rPr lang="en-US" dirty="0" err="1"/>
              <a:t>Eur</a:t>
            </a:r>
            <a:r>
              <a:rPr lang="en-US" dirty="0"/>
              <a:t> Heart J. 2023 Jul 21;44(28):2544-2556. </a:t>
            </a:r>
            <a:r>
              <a:rPr lang="en-US" dirty="0" err="1"/>
              <a:t>doi</a:t>
            </a:r>
            <a:r>
              <a:rPr lang="en-US" dirty="0"/>
              <a:t>: 10.1093/</a:t>
            </a:r>
            <a:r>
              <a:rPr lang="en-US" dirty="0" err="1"/>
              <a:t>eurheartj</a:t>
            </a:r>
            <a:r>
              <a:rPr lang="en-US" dirty="0"/>
              <a:t>/ehad260. </a:t>
            </a:r>
            <a:r>
              <a:rPr lang="en-US" b="1" dirty="0"/>
              <a:t>3</a:t>
            </a:r>
            <a:r>
              <a:rPr lang="en-US" dirty="0"/>
              <a:t>. </a:t>
            </a:r>
            <a:r>
              <a:rPr lang="en-US" dirty="0" err="1"/>
              <a:t>Bardají</a:t>
            </a:r>
            <a:r>
              <a:rPr lang="en-US" dirty="0"/>
              <a:t>  A, REGICOR: 35 years of excellence in cardiovascular research. Rev Esp </a:t>
            </a:r>
            <a:r>
              <a:rPr lang="en-US" dirty="0" err="1"/>
              <a:t>Cardiol</a:t>
            </a:r>
            <a:r>
              <a:rPr lang="en-US" dirty="0"/>
              <a:t> (Engl Ed). 2013 Dec;66(12):923-5. </a:t>
            </a:r>
            <a:r>
              <a:rPr lang="en-US" dirty="0" err="1"/>
              <a:t>doi</a:t>
            </a:r>
            <a:r>
              <a:rPr lang="en-US" dirty="0"/>
              <a:t>: 10.1016/j.rec.2013.07.008. </a:t>
            </a:r>
            <a:r>
              <a:rPr lang="en-US" dirty="0" err="1"/>
              <a:t>Epub</a:t>
            </a:r>
            <a:r>
              <a:rPr lang="en-US" dirty="0"/>
              <a:t> 2013 Oct 29. </a:t>
            </a:r>
            <a:r>
              <a:rPr lang="en-US" b="1" dirty="0"/>
              <a:t>4</a:t>
            </a:r>
            <a:r>
              <a:rPr lang="en-US" dirty="0"/>
              <a:t>. </a:t>
            </a:r>
            <a:r>
              <a:rPr lang="en-US" dirty="0" err="1"/>
              <a:t>Osoro</a:t>
            </a:r>
            <a:r>
              <a:rPr lang="en-US" dirty="0"/>
              <a:t> I, et al. Ten-year risk assessment for cardiovascular diseases using ASCVD risk estimator plus: outcomes from hypertension and diabetes patients. </a:t>
            </a:r>
            <a:r>
              <a:rPr lang="en-US" dirty="0" err="1"/>
              <a:t>Diabetol</a:t>
            </a:r>
            <a:r>
              <a:rPr lang="en-US" dirty="0"/>
              <a:t> </a:t>
            </a:r>
            <a:r>
              <a:rPr lang="en-US" dirty="0" err="1"/>
              <a:t>Metab</a:t>
            </a:r>
            <a:r>
              <a:rPr lang="en-US" dirty="0"/>
              <a:t> </a:t>
            </a:r>
            <a:r>
              <a:rPr lang="en-US" dirty="0" err="1"/>
              <a:t>Syndr</a:t>
            </a:r>
            <a:r>
              <a:rPr lang="en-US" dirty="0"/>
              <a:t>. 2023 Oct 27;15(1):216. </a:t>
            </a:r>
            <a:r>
              <a:rPr lang="en-US" dirty="0" err="1"/>
              <a:t>doi</a:t>
            </a:r>
            <a:r>
              <a:rPr lang="en-US" dirty="0"/>
              <a:t>: 10.1186/s13098-023-01170-2. </a:t>
            </a:r>
            <a:r>
              <a:rPr lang="en-US" b="1" dirty="0"/>
              <a:t>5</a:t>
            </a:r>
            <a:r>
              <a:rPr lang="en-US" dirty="0"/>
              <a:t>. Hippisley-Cox J, Coupland C, Brindle P. Development and validation of QRISK3 risk prediction algorithms to estimate future risk of cardiovascular disease: prospective cohort study. BMJ 2017; 357: j2099.</a:t>
            </a:r>
            <a:r>
              <a:rPr lang="en-US" b="1" dirty="0"/>
              <a:t> 6</a:t>
            </a:r>
            <a:r>
              <a:rPr lang="en-US" dirty="0"/>
              <a:t>. Woodward M, Brindle P, Tunstall-</a:t>
            </a:r>
            <a:r>
              <a:rPr lang="en-US" dirty="0" err="1"/>
              <a:t>Pedoe</a:t>
            </a:r>
            <a:r>
              <a:rPr lang="en-US" dirty="0"/>
              <a:t> H. Adding social deprivation and family history to cardiovascular risk assessment: the ASSIGN score from the Scottish Heart Health Extended Cohort (SHHEC). Heart 2007; 93: 172–76.</a:t>
            </a:r>
            <a:endParaRPr lang="es-ES" dirty="0"/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383DFBEB-F80E-A59D-74C5-41C7FC9CEA33}"/>
              </a:ext>
            </a:extLst>
          </p:cNvPr>
          <p:cNvSpPr txBox="1"/>
          <p:nvPr/>
        </p:nvSpPr>
        <p:spPr>
          <a:xfrm>
            <a:off x="537569" y="1387220"/>
            <a:ext cx="11116862" cy="492443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Por lo tanto, la raza debe ser reemplazada en cualquier ecuación de predicción de riesgo por los diversos factores potencialmente causales que la raza representa, y que pueden ser abordados con intervenciones</a:t>
            </a:r>
            <a:r>
              <a:rPr lang="es-ES_tradnl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58F8AACC-83E6-596F-2506-7F65D19E843A}"/>
              </a:ext>
            </a:extLst>
          </p:cNvPr>
          <p:cNvSpPr txBox="1"/>
          <p:nvPr/>
        </p:nvSpPr>
        <p:spPr>
          <a:xfrm>
            <a:off x="537568" y="2083835"/>
            <a:ext cx="11116862" cy="492443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n el Reino Unido, en diferentes escalas de riesgo cardiovascular, incorporan un índice de privación social (en lugar de raza y etnia) que aborda más directamente los determinantes sociales de la salud</a:t>
            </a:r>
            <a:r>
              <a:rPr lang="es-ES_tradnl" baseline="30000" dirty="0"/>
              <a:t>1</a:t>
            </a:r>
            <a:r>
              <a:rPr lang="es-ES" dirty="0"/>
              <a:t>. </a:t>
            </a:r>
          </a:p>
        </p:txBody>
      </p:sp>
      <p:graphicFrame>
        <p:nvGraphicFramePr>
          <p:cNvPr id="26" name="Tabla 25">
            <a:extLst>
              <a:ext uri="{FF2B5EF4-FFF2-40B4-BE49-F238E27FC236}">
                <a16:creationId xmlns:a16="http://schemas.microsoft.com/office/drawing/2014/main" id="{73765E11-D3F0-568F-6001-8362F3506C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5711712"/>
              </p:ext>
            </p:extLst>
          </p:nvPr>
        </p:nvGraphicFramePr>
        <p:xfrm>
          <a:off x="1953393" y="3531335"/>
          <a:ext cx="8127999" cy="16510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709333">
                  <a:extLst>
                    <a:ext uri="{9D8B030D-6E8A-4147-A177-3AD203B41FA5}">
                      <a16:colId xmlns:a16="http://schemas.microsoft.com/office/drawing/2014/main" val="732739855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76577030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166308471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ES_tradnl" dirty="0"/>
                        <a:t>No </a:t>
                      </a:r>
                      <a:r>
                        <a:rPr lang="es-ES_tradnl" dirty="0" err="1"/>
                        <a:t>inluyen</a:t>
                      </a:r>
                      <a:r>
                        <a:rPr lang="es-ES_tradnl" dirty="0"/>
                        <a:t> la raza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dirty="0"/>
                        <a:t>Incluyen la raza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dirty="0"/>
                        <a:t>Incluyen un índice de privación social</a:t>
                      </a:r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56125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ES_tradnl" sz="180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SCORE-2</a:t>
                      </a:r>
                      <a:r>
                        <a:rPr lang="es-ES_tradnl" sz="1800" kern="1200" baseline="300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s-ES" sz="1800" kern="1200" baseline="300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800" kern="1200" dirty="0">
                          <a:solidFill>
                            <a:schemeClr val="accent1"/>
                          </a:solidFill>
                        </a:rPr>
                        <a:t>ASCVD </a:t>
                      </a:r>
                      <a:r>
                        <a:rPr lang="es-ES" sz="1800" kern="1200" dirty="0" err="1">
                          <a:solidFill>
                            <a:schemeClr val="accent1"/>
                          </a:solidFill>
                        </a:rPr>
                        <a:t>Risk</a:t>
                      </a:r>
                      <a:r>
                        <a:rPr lang="es-ES" sz="1800" kern="1200" dirty="0">
                          <a:solidFill>
                            <a:schemeClr val="accent1"/>
                          </a:solidFill>
                        </a:rPr>
                        <a:t> </a:t>
                      </a:r>
                      <a:r>
                        <a:rPr lang="es-ES" sz="1800" kern="1200" dirty="0" err="1">
                          <a:solidFill>
                            <a:schemeClr val="accent1"/>
                          </a:solidFill>
                        </a:rPr>
                        <a:t>Estimator</a:t>
                      </a:r>
                      <a:r>
                        <a:rPr lang="es-ES" sz="1800" kern="1200" dirty="0">
                          <a:solidFill>
                            <a:schemeClr val="accent1"/>
                          </a:solidFill>
                        </a:rPr>
                        <a:t> Plus</a:t>
                      </a:r>
                      <a:r>
                        <a:rPr lang="es-ES_tradnl" sz="1800" kern="1200" baseline="300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es-ES" sz="18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80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ASSIGN score</a:t>
                      </a:r>
                      <a:r>
                        <a:rPr lang="es-ES_tradnl" sz="1800" kern="1200" baseline="300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endParaRPr lang="es-ES" sz="18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29663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ES_tradnl" sz="180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Regicor</a:t>
                      </a:r>
                      <a:r>
                        <a:rPr lang="es-ES_tradnl" sz="1800" kern="1200" baseline="300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es-ES" sz="18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800" kern="1200" dirty="0">
                          <a:solidFill>
                            <a:schemeClr val="accent1"/>
                          </a:solidFill>
                        </a:rPr>
                        <a:t>QRISK®3</a:t>
                      </a:r>
                      <a:r>
                        <a:rPr lang="es-ES_tradnl" sz="1800" kern="1200" baseline="300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es-ES" sz="18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6821473"/>
                  </a:ext>
                </a:extLst>
              </a:tr>
            </a:tbl>
          </a:graphicData>
        </a:graphic>
      </p:graphicFrame>
      <p:sp>
        <p:nvSpPr>
          <p:cNvPr id="27" name="Título 1">
            <a:extLst>
              <a:ext uri="{FF2B5EF4-FFF2-40B4-BE49-F238E27FC236}">
                <a16:creationId xmlns:a16="http://schemas.microsoft.com/office/drawing/2014/main" id="{8A93620A-85DF-87AA-880B-0B7BD92CE385}"/>
              </a:ext>
            </a:extLst>
          </p:cNvPr>
          <p:cNvSpPr txBox="1">
            <a:spLocks/>
          </p:cNvSpPr>
          <p:nvPr/>
        </p:nvSpPr>
        <p:spPr>
          <a:xfrm>
            <a:off x="3714120" y="2780450"/>
            <a:ext cx="4606543" cy="76079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S" sz="2000" dirty="0"/>
              <a:t>Escalas para la estimación del RCV:</a:t>
            </a:r>
          </a:p>
        </p:txBody>
      </p:sp>
      <p:sp>
        <p:nvSpPr>
          <p:cNvPr id="31" name="Título 30">
            <a:extLst>
              <a:ext uri="{FF2B5EF4-FFF2-40B4-BE49-F238E27FC236}">
                <a16:creationId xmlns:a16="http://schemas.microsoft.com/office/drawing/2014/main" id="{B2D837B3-CE4D-07EF-6B69-50045FCFD5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2" name="Título 1">
            <a:extLst>
              <a:ext uri="{FF2B5EF4-FFF2-40B4-BE49-F238E27FC236}">
                <a16:creationId xmlns:a16="http://schemas.microsoft.com/office/drawing/2014/main" id="{AFB6CC7A-9E0F-277A-9C2A-7CC00C3615EE}"/>
              </a:ext>
            </a:extLst>
          </p:cNvPr>
          <p:cNvSpPr txBox="1">
            <a:spLocks/>
          </p:cNvSpPr>
          <p:nvPr/>
        </p:nvSpPr>
        <p:spPr>
          <a:xfrm>
            <a:off x="376483" y="159207"/>
            <a:ext cx="11473957" cy="467219"/>
          </a:xfrm>
          <a:prstGeom prst="rect">
            <a:avLst/>
          </a:prstGeom>
          <a:solidFill>
            <a:schemeClr val="accent5"/>
          </a:solidFill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dirty="0"/>
              <a:t>La inclusión de la raza en la estimación del riesgo cardiovascular</a:t>
            </a:r>
          </a:p>
        </p:txBody>
      </p:sp>
      <p:sp>
        <p:nvSpPr>
          <p:cNvPr id="33" name="Título 1">
            <a:extLst>
              <a:ext uri="{FF2B5EF4-FFF2-40B4-BE49-F238E27FC236}">
                <a16:creationId xmlns:a16="http://schemas.microsoft.com/office/drawing/2014/main" id="{CDA8AE5E-2A80-57CF-3BDA-2AC3A42ED4F1}"/>
              </a:ext>
            </a:extLst>
          </p:cNvPr>
          <p:cNvSpPr txBox="1">
            <a:spLocks/>
          </p:cNvSpPr>
          <p:nvPr/>
        </p:nvSpPr>
        <p:spPr>
          <a:xfrm>
            <a:off x="376483" y="626427"/>
            <a:ext cx="11473957" cy="51652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lIns="0" tIns="0" rIns="0" bIns="0" rtlCol="0" anchor="ctr">
            <a:normAutofit/>
          </a:bodyPr>
          <a:lstStyle>
            <a:defPPr>
              <a:defRPr lang="es-ES"/>
            </a:defPPr>
            <a:lvl1pPr marR="0" indent="0" defTabSz="91433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/>
              <a:t>Calculadoras de RCV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9CBAB301-C9FD-4880-ADD2-D70C1E516BC8}"/>
              </a:ext>
            </a:extLst>
          </p:cNvPr>
          <p:cNvSpPr txBox="1"/>
          <p:nvPr/>
        </p:nvSpPr>
        <p:spPr>
          <a:xfrm rot="16200000">
            <a:off x="10584462" y="3677419"/>
            <a:ext cx="25370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0</a:t>
            </a:r>
            <a:endParaRPr lang="es-ES" sz="12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452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3CDE65-3396-3C1B-91B9-B775CFCAB4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ítulo 30">
            <a:extLst>
              <a:ext uri="{FF2B5EF4-FFF2-40B4-BE49-F238E27FC236}">
                <a16:creationId xmlns:a16="http://schemas.microsoft.com/office/drawing/2014/main" id="{9145877A-93F8-A12B-45C8-6F52116B3A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2" name="Título 1">
            <a:extLst>
              <a:ext uri="{FF2B5EF4-FFF2-40B4-BE49-F238E27FC236}">
                <a16:creationId xmlns:a16="http://schemas.microsoft.com/office/drawing/2014/main" id="{6530DF10-E17E-5346-95FA-447FC113A3BA}"/>
              </a:ext>
            </a:extLst>
          </p:cNvPr>
          <p:cNvSpPr txBox="1">
            <a:spLocks/>
          </p:cNvSpPr>
          <p:nvPr/>
        </p:nvSpPr>
        <p:spPr>
          <a:xfrm>
            <a:off x="358011" y="159207"/>
            <a:ext cx="11473957" cy="467219"/>
          </a:xfrm>
          <a:prstGeom prst="rect">
            <a:avLst/>
          </a:prstGeom>
          <a:solidFill>
            <a:schemeClr val="accent5"/>
          </a:solidFill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dirty="0"/>
              <a:t>La inclusión de la raza en la estimación del riesgo cardiovascular</a:t>
            </a:r>
          </a:p>
        </p:txBody>
      </p:sp>
      <p:sp>
        <p:nvSpPr>
          <p:cNvPr id="33" name="Título 1">
            <a:extLst>
              <a:ext uri="{FF2B5EF4-FFF2-40B4-BE49-F238E27FC236}">
                <a16:creationId xmlns:a16="http://schemas.microsoft.com/office/drawing/2014/main" id="{1CE62C97-0142-6949-B19E-C9F848F9F5B2}"/>
              </a:ext>
            </a:extLst>
          </p:cNvPr>
          <p:cNvSpPr txBox="1">
            <a:spLocks/>
          </p:cNvSpPr>
          <p:nvPr/>
        </p:nvSpPr>
        <p:spPr>
          <a:xfrm>
            <a:off x="358011" y="626427"/>
            <a:ext cx="11473957" cy="51652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lIns="0" tIns="0" rIns="0" bIns="0" rtlCol="0" anchor="ctr">
            <a:normAutofit/>
          </a:bodyPr>
          <a:lstStyle>
            <a:defPPr>
              <a:defRPr lang="es-ES"/>
            </a:defPPr>
            <a:lvl1pPr marR="0" indent="0" defTabSz="91433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/>
              <a:t>Calculadoras de RCV, Escala SCORE-2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6052FC81-5E13-07B2-B6C4-E82D5CDCA4B8}"/>
              </a:ext>
            </a:extLst>
          </p:cNvPr>
          <p:cNvSpPr txBox="1"/>
          <p:nvPr/>
        </p:nvSpPr>
        <p:spPr>
          <a:xfrm>
            <a:off x="598652" y="5945236"/>
            <a:ext cx="4185214" cy="63094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700" b="0" i="1" dirty="0">
                <a:solidFill>
                  <a:schemeClr val="accent1"/>
                </a:solidFill>
                <a:effectLst/>
              </a:rPr>
              <a:t>1. Mach F. et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atl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, </a:t>
            </a:r>
            <a:r>
              <a:rPr lang="es-ES" sz="700" b="0" i="1" dirty="0">
                <a:solidFill>
                  <a:schemeClr val="accent1"/>
                </a:solidFill>
                <a:effectLst/>
              </a:rPr>
              <a:t>Guía ESC/EAS 2019 sobre el tratamiento de las dislipemias: modificación de los lípidos para reducir el riesgo cardiovascular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Rev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Esp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Cardiol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. 2020;73(5):403.e1–403.e70, https://doi.org/10.1016/j.recesp.2019.11.009 . </a:t>
            </a:r>
            <a:r>
              <a:rPr lang="es-ES" sz="700" b="1" i="1" dirty="0">
                <a:solidFill>
                  <a:schemeClr val="accent1"/>
                </a:solidFill>
              </a:rPr>
              <a:t>2</a:t>
            </a:r>
            <a:r>
              <a:rPr lang="es-ES" sz="700" i="1" dirty="0">
                <a:solidFill>
                  <a:schemeClr val="accent1"/>
                </a:solidFill>
              </a:rPr>
              <a:t>. </a:t>
            </a:r>
            <a:r>
              <a:rPr lang="es-ES" sz="700" i="1" dirty="0" err="1">
                <a:solidFill>
                  <a:schemeClr val="accent1"/>
                </a:solidFill>
              </a:rPr>
              <a:t>Pennells</a:t>
            </a:r>
            <a:r>
              <a:rPr lang="es-ES" sz="700" i="1" dirty="0">
                <a:solidFill>
                  <a:schemeClr val="accent1"/>
                </a:solidFill>
              </a:rPr>
              <a:t> L, et al. </a:t>
            </a:r>
            <a:r>
              <a:rPr lang="en-US" sz="700" i="1" dirty="0">
                <a:solidFill>
                  <a:schemeClr val="accent1"/>
                </a:solidFill>
              </a:rPr>
              <a:t>SCORE2 risk prediction algorithms: new models to estimate 10-year risk of cardiovascular disease in Europe</a:t>
            </a:r>
            <a:r>
              <a:rPr lang="es-ES" sz="700" i="1" dirty="0">
                <a:solidFill>
                  <a:schemeClr val="accent1"/>
                </a:solidFill>
              </a:rPr>
              <a:t>. </a:t>
            </a:r>
            <a:r>
              <a:rPr lang="es-ES" sz="700" i="1" dirty="0" err="1">
                <a:solidFill>
                  <a:schemeClr val="accent1"/>
                </a:solidFill>
              </a:rPr>
              <a:t>Eur</a:t>
            </a:r>
            <a:r>
              <a:rPr lang="es-ES" sz="700" i="1" dirty="0">
                <a:solidFill>
                  <a:schemeClr val="accent1"/>
                </a:solidFill>
              </a:rPr>
              <a:t> Heart J. 2021 Jul 1;42(25):2439-2454. </a:t>
            </a:r>
            <a:r>
              <a:rPr lang="es-ES" sz="700" i="1" dirty="0" err="1">
                <a:solidFill>
                  <a:schemeClr val="accent1"/>
                </a:solidFill>
              </a:rPr>
              <a:t>doi</a:t>
            </a:r>
            <a:r>
              <a:rPr lang="es-ES" sz="700" i="1" dirty="0">
                <a:solidFill>
                  <a:schemeClr val="accent1"/>
                </a:solidFill>
              </a:rPr>
              <a:t>: 10.1093/</a:t>
            </a:r>
            <a:r>
              <a:rPr lang="es-ES" sz="700" i="1" dirty="0" err="1">
                <a:solidFill>
                  <a:schemeClr val="accent1"/>
                </a:solidFill>
              </a:rPr>
              <a:t>eurheartj</a:t>
            </a:r>
            <a:r>
              <a:rPr lang="es-ES" sz="700" i="1" dirty="0">
                <a:solidFill>
                  <a:schemeClr val="accent1"/>
                </a:solidFill>
              </a:rPr>
              <a:t>/ehab309.</a:t>
            </a:r>
          </a:p>
        </p:txBody>
      </p:sp>
      <p:grpSp>
        <p:nvGrpSpPr>
          <p:cNvPr id="10" name="Grupo 9">
            <a:extLst>
              <a:ext uri="{FF2B5EF4-FFF2-40B4-BE49-F238E27FC236}">
                <a16:creationId xmlns:a16="http://schemas.microsoft.com/office/drawing/2014/main" id="{FCD8F058-3D62-BE51-23FC-9C88EFAE2F7F}"/>
              </a:ext>
            </a:extLst>
          </p:cNvPr>
          <p:cNvGrpSpPr/>
          <p:nvPr/>
        </p:nvGrpSpPr>
        <p:grpSpPr>
          <a:xfrm>
            <a:off x="527796" y="2017604"/>
            <a:ext cx="4326927" cy="3846949"/>
            <a:chOff x="564465" y="1796010"/>
            <a:chExt cx="4851936" cy="4106679"/>
          </a:xfrm>
        </p:grpSpPr>
        <p:pic>
          <p:nvPicPr>
            <p:cNvPr id="3" name="Imagen 2">
              <a:extLst>
                <a:ext uri="{FF2B5EF4-FFF2-40B4-BE49-F238E27FC236}">
                  <a16:creationId xmlns:a16="http://schemas.microsoft.com/office/drawing/2014/main" id="{CC29C7AD-79B0-3C40-1218-63B63D17089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64465" y="1796010"/>
              <a:ext cx="4851936" cy="4106679"/>
            </a:xfrm>
            <a:prstGeom prst="rect">
              <a:avLst/>
            </a:prstGeom>
          </p:spPr>
        </p:pic>
        <p:sp>
          <p:nvSpPr>
            <p:cNvPr id="6" name="CuadroTexto 5">
              <a:extLst>
                <a:ext uri="{FF2B5EF4-FFF2-40B4-BE49-F238E27FC236}">
                  <a16:creationId xmlns:a16="http://schemas.microsoft.com/office/drawing/2014/main" id="{D2D2C7AC-533C-E657-5815-5ACCBD32E6ED}"/>
                </a:ext>
              </a:extLst>
            </p:cNvPr>
            <p:cNvSpPr txBox="1"/>
            <p:nvPr/>
          </p:nvSpPr>
          <p:spPr>
            <a:xfrm>
              <a:off x="4850952" y="1796010"/>
              <a:ext cx="41409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_tradnl" baseline="30000" dirty="0">
                  <a:solidFill>
                    <a:schemeClr val="tx1">
                      <a:lumMod val="50000"/>
                    </a:schemeClr>
                  </a:solidFill>
                </a:rPr>
                <a:t>1</a:t>
              </a:r>
              <a:endParaRPr lang="es-ES" baseline="3000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</p:grpSp>
      <p:sp>
        <p:nvSpPr>
          <p:cNvPr id="9" name="CuadroTexto 8">
            <a:extLst>
              <a:ext uri="{FF2B5EF4-FFF2-40B4-BE49-F238E27FC236}">
                <a16:creationId xmlns:a16="http://schemas.microsoft.com/office/drawing/2014/main" id="{27E2A949-DCA1-9AEA-8D5E-0C292E0473C9}"/>
              </a:ext>
            </a:extLst>
          </p:cNvPr>
          <p:cNvSpPr txBox="1"/>
          <p:nvPr/>
        </p:nvSpPr>
        <p:spPr>
          <a:xfrm>
            <a:off x="751660" y="1290590"/>
            <a:ext cx="3968086" cy="64633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s-ES" sz="1400" dirty="0"/>
              <a:t>Las guías del ESC 2019 para el manejo de la dislipemia recomiendan la estimación del RCV con las escalas SCORE2</a:t>
            </a:r>
            <a:r>
              <a:rPr lang="es-ES_tradnl" sz="1400" baseline="30000" dirty="0"/>
              <a:t>1</a:t>
            </a:r>
            <a:r>
              <a:rPr lang="es-ES" sz="1400" dirty="0"/>
              <a:t>. </a:t>
            </a:r>
          </a:p>
        </p:txBody>
      </p:sp>
      <p:grpSp>
        <p:nvGrpSpPr>
          <p:cNvPr id="16" name="Grupo 15">
            <a:extLst>
              <a:ext uri="{FF2B5EF4-FFF2-40B4-BE49-F238E27FC236}">
                <a16:creationId xmlns:a16="http://schemas.microsoft.com/office/drawing/2014/main" id="{B7639073-7379-D473-9C12-FBEEB9C36AE1}"/>
              </a:ext>
            </a:extLst>
          </p:cNvPr>
          <p:cNvGrpSpPr/>
          <p:nvPr/>
        </p:nvGrpSpPr>
        <p:grpSpPr>
          <a:xfrm>
            <a:off x="5907030" y="3395981"/>
            <a:ext cx="901920" cy="1041568"/>
            <a:chOff x="6896966" y="3189296"/>
            <a:chExt cx="901920" cy="1041568"/>
          </a:xfrm>
        </p:grpSpPr>
        <p:pic>
          <p:nvPicPr>
            <p:cNvPr id="12" name="Picture 2" descr="‎ESC CVD Risk Calculation on the App Store">
              <a:extLst>
                <a:ext uri="{FF2B5EF4-FFF2-40B4-BE49-F238E27FC236}">
                  <a16:creationId xmlns:a16="http://schemas.microsoft.com/office/drawing/2014/main" id="{466FAD80-9921-EC97-0586-8A51ADA118F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896966" y="3500667"/>
              <a:ext cx="901920" cy="7301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0A54044A-B062-5F97-D39B-2E4158CE2E54}"/>
                </a:ext>
              </a:extLst>
            </p:cNvPr>
            <p:cNvSpPr txBox="1"/>
            <p:nvPr/>
          </p:nvSpPr>
          <p:spPr>
            <a:xfrm>
              <a:off x="7038613" y="3189296"/>
              <a:ext cx="690880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s-ES" sz="1400" b="1" dirty="0">
                  <a:solidFill>
                    <a:schemeClr val="accent1"/>
                  </a:solidFill>
                </a:rPr>
                <a:t>APP: </a:t>
              </a:r>
            </a:p>
          </p:txBody>
        </p:sp>
      </p:grpSp>
      <p:sp>
        <p:nvSpPr>
          <p:cNvPr id="15" name="CuadroTexto 14">
            <a:extLst>
              <a:ext uri="{FF2B5EF4-FFF2-40B4-BE49-F238E27FC236}">
                <a16:creationId xmlns:a16="http://schemas.microsoft.com/office/drawing/2014/main" id="{35BCDBA4-DDD5-95A7-364B-94A4CD8D1A9E}"/>
              </a:ext>
            </a:extLst>
          </p:cNvPr>
          <p:cNvSpPr txBox="1"/>
          <p:nvPr/>
        </p:nvSpPr>
        <p:spPr>
          <a:xfrm>
            <a:off x="5531224" y="1290590"/>
            <a:ext cx="6265821" cy="861774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dirty="0"/>
              <a:t>SCORE2 es un algoritmo derivado, calibrado y validado para predecir el riesgo de ECV de primera aparición a 10 años en poblaciones europeas, mejora la identificación de individuos con mayor riesgo de desarrollar ECV en toda Europa</a:t>
            </a:r>
            <a:r>
              <a:rPr lang="es-ES" baseline="30000" dirty="0"/>
              <a:t>2</a:t>
            </a:r>
            <a:r>
              <a:rPr lang="es-ES" dirty="0"/>
              <a:t>.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7985FAEB-B5BB-4A73-8764-E3060315229B}"/>
              </a:ext>
            </a:extLst>
          </p:cNvPr>
          <p:cNvSpPr txBox="1"/>
          <p:nvPr/>
        </p:nvSpPr>
        <p:spPr>
          <a:xfrm>
            <a:off x="5531224" y="2359181"/>
            <a:ext cx="6300744" cy="646331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baseline="0">
                <a:solidFill>
                  <a:schemeClr val="accent1"/>
                </a:solidFill>
              </a:defRPr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dirty="0"/>
              <a:t>A través de la APP gratuita ESC CVD </a:t>
            </a:r>
            <a:r>
              <a:rPr lang="es-ES" dirty="0" err="1"/>
              <a:t>Risk</a:t>
            </a:r>
            <a:r>
              <a:rPr lang="es-ES" dirty="0"/>
              <a:t>, se puede acceder a diferentes calculadoras del SCORE-2, y con la introducción de parámetros muy sencillos, se puede calcular el RCV del paciente.</a:t>
            </a:r>
          </a:p>
        </p:txBody>
      </p:sp>
      <p:pic>
        <p:nvPicPr>
          <p:cNvPr id="20" name="Imagen 19" descr="Imagen que contiene Gráfico de dispersión&#10;&#10;El contenido generado por IA puede ser incorrecto.">
            <a:extLst>
              <a:ext uri="{FF2B5EF4-FFF2-40B4-BE49-F238E27FC236}">
                <a16:creationId xmlns:a16="http://schemas.microsoft.com/office/drawing/2014/main" id="{05575FA3-3CEE-F2D2-A311-E8776F97352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77" b="11032"/>
          <a:stretch/>
        </p:blipFill>
        <p:spPr>
          <a:xfrm>
            <a:off x="7361044" y="3332569"/>
            <a:ext cx="1461524" cy="2802572"/>
          </a:xfrm>
          <a:prstGeom prst="rect">
            <a:avLst/>
          </a:prstGeom>
        </p:spPr>
      </p:pic>
      <p:pic>
        <p:nvPicPr>
          <p:cNvPr id="22" name="Imagen 21" descr="Interfaz de usuario gráfica, Aplicación&#10;&#10;El contenido generado por IA puede ser incorrecto.">
            <a:extLst>
              <a:ext uri="{FF2B5EF4-FFF2-40B4-BE49-F238E27FC236}">
                <a16:creationId xmlns:a16="http://schemas.microsoft.com/office/drawing/2014/main" id="{4CDBF48C-A4F7-15F5-453B-8B69667F289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77" b="12340"/>
          <a:stretch/>
        </p:blipFill>
        <p:spPr>
          <a:xfrm>
            <a:off x="8865744" y="3353800"/>
            <a:ext cx="1461524" cy="2760110"/>
          </a:xfrm>
          <a:prstGeom prst="rect">
            <a:avLst/>
          </a:prstGeom>
        </p:spPr>
      </p:pic>
      <p:pic>
        <p:nvPicPr>
          <p:cNvPr id="24" name="Imagen 23" descr="Interfaz de usuario gráfica, Aplicación&#10;&#10;El contenido generado por IA puede ser incorrecto.">
            <a:extLst>
              <a:ext uri="{FF2B5EF4-FFF2-40B4-BE49-F238E27FC236}">
                <a16:creationId xmlns:a16="http://schemas.microsoft.com/office/drawing/2014/main" id="{1474C6D1-2814-AAE0-1930-ADCFCC92CAA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77" b="11032"/>
          <a:stretch/>
        </p:blipFill>
        <p:spPr>
          <a:xfrm>
            <a:off x="10370444" y="3353800"/>
            <a:ext cx="1461524" cy="2802572"/>
          </a:xfrm>
          <a:prstGeom prst="rect">
            <a:avLst/>
          </a:prstGeom>
        </p:spPr>
      </p:pic>
      <p:sp>
        <p:nvSpPr>
          <p:cNvPr id="28" name="CuadroTexto 27">
            <a:extLst>
              <a:ext uri="{FF2B5EF4-FFF2-40B4-BE49-F238E27FC236}">
                <a16:creationId xmlns:a16="http://schemas.microsoft.com/office/drawing/2014/main" id="{7C6B5642-BFEC-A48A-CD09-352ADEBB009D}"/>
              </a:ext>
            </a:extLst>
          </p:cNvPr>
          <p:cNvSpPr txBox="1"/>
          <p:nvPr/>
        </p:nvSpPr>
        <p:spPr>
          <a:xfrm>
            <a:off x="5476210" y="4531450"/>
            <a:ext cx="1682566" cy="45504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 indent="0"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aseline="0">
                <a:solidFill>
                  <a:schemeClr val="accent1"/>
                </a:solidFill>
              </a:defRPr>
            </a:lvl1pPr>
            <a:lvl2pPr marL="685783" lvl="1" indent="-228594" defTabSz="914377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/>
            </a:lvl2pPr>
            <a:lvl3pPr marL="1142971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160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349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537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726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914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10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/>
            <a:r>
              <a:rPr lang="es-ES" sz="1200" b="1" dirty="0"/>
              <a:t>1. SCORE2             (&lt;70 años)</a:t>
            </a: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76A4CD79-E6C7-0EF3-2576-F7E692B2345D}"/>
              </a:ext>
            </a:extLst>
          </p:cNvPr>
          <p:cNvSpPr txBox="1"/>
          <p:nvPr/>
        </p:nvSpPr>
        <p:spPr>
          <a:xfrm>
            <a:off x="5476210" y="5138897"/>
            <a:ext cx="1682566" cy="45504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 indent="0"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aseline="0">
                <a:solidFill>
                  <a:schemeClr val="accent1"/>
                </a:solidFill>
              </a:defRPr>
            </a:lvl1pPr>
            <a:lvl2pPr marL="685783" lvl="1" indent="-228594" defTabSz="914377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/>
            </a:lvl2pPr>
            <a:lvl3pPr marL="1142971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160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349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537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726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914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10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/>
            <a:r>
              <a:rPr lang="es-ES" sz="1200" b="1" dirty="0"/>
              <a:t>2. SCORE2-OP       (≥ 70 años)</a:t>
            </a: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5DFE4C81-2444-B3AB-6AC5-D8D8E329B4DF}"/>
              </a:ext>
            </a:extLst>
          </p:cNvPr>
          <p:cNvSpPr txBox="1"/>
          <p:nvPr/>
        </p:nvSpPr>
        <p:spPr>
          <a:xfrm>
            <a:off x="5476212" y="5715709"/>
            <a:ext cx="1682567" cy="29659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indent="0"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aseline="0">
                <a:solidFill>
                  <a:schemeClr val="accent1"/>
                </a:solidFill>
              </a:defRPr>
            </a:lvl1pPr>
            <a:lvl2pPr marL="685783" lvl="1" indent="-228594" defTabSz="914377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/>
            </a:lvl2pPr>
            <a:lvl3pPr marL="1142971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160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349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537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726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914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10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/>
            <a:r>
              <a:rPr lang="es-ES" sz="1200" b="1" dirty="0"/>
              <a:t>3. SCORE2-Diabetes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5B674441-FDEA-37A9-3746-128D2C66804C}"/>
              </a:ext>
            </a:extLst>
          </p:cNvPr>
          <p:cNvSpPr txBox="1"/>
          <p:nvPr/>
        </p:nvSpPr>
        <p:spPr>
          <a:xfrm rot="16200000">
            <a:off x="10735706" y="3731891"/>
            <a:ext cx="25370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0</a:t>
            </a:r>
            <a:endParaRPr lang="es-ES" sz="12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0176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16AFCB5-65B5-749D-9B52-25332E7176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_tradnl" sz="2800" dirty="0" err="1"/>
              <a:t>Resúmen</a:t>
            </a:r>
            <a:endParaRPr lang="es-ES" sz="2800" dirty="0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B818BB4C-84DE-175E-93AC-6F091089E776}"/>
              </a:ext>
            </a:extLst>
          </p:cNvPr>
          <p:cNvSpPr txBox="1"/>
          <p:nvPr/>
        </p:nvSpPr>
        <p:spPr>
          <a:xfrm>
            <a:off x="394956" y="1289952"/>
            <a:ext cx="11402089" cy="430887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accent4"/>
                </a:solidFill>
              </a:rPr>
              <a:t>En </a:t>
            </a:r>
            <a:r>
              <a:rPr lang="en-US" dirty="0" err="1">
                <a:solidFill>
                  <a:schemeClr val="accent4"/>
                </a:solidFill>
              </a:rPr>
              <a:t>cuanto</a:t>
            </a:r>
            <a:r>
              <a:rPr lang="en-US" dirty="0">
                <a:solidFill>
                  <a:schemeClr val="accent4"/>
                </a:solidFill>
              </a:rPr>
              <a:t> a </a:t>
            </a:r>
            <a:r>
              <a:rPr lang="en-US" dirty="0" err="1">
                <a:solidFill>
                  <a:schemeClr val="accent4"/>
                </a:solidFill>
              </a:rPr>
              <a:t>factores</a:t>
            </a:r>
            <a:r>
              <a:rPr lang="en-US" dirty="0">
                <a:solidFill>
                  <a:schemeClr val="accent4"/>
                </a:solidFill>
              </a:rPr>
              <a:t> de RCV, las personas de raza </a:t>
            </a:r>
            <a:r>
              <a:rPr lang="en-US" dirty="0" err="1">
                <a:solidFill>
                  <a:schemeClr val="accent4"/>
                </a:solidFill>
              </a:rPr>
              <a:t>negra</a:t>
            </a:r>
            <a:r>
              <a:rPr lang="en-US" dirty="0">
                <a:solidFill>
                  <a:schemeClr val="accent4"/>
                </a:solidFill>
              </a:rPr>
              <a:t> </a:t>
            </a:r>
            <a:r>
              <a:rPr lang="en-US" dirty="0" err="1">
                <a:solidFill>
                  <a:schemeClr val="accent4"/>
                </a:solidFill>
              </a:rPr>
              <a:t>tienen</a:t>
            </a:r>
            <a:r>
              <a:rPr lang="en-US" dirty="0">
                <a:solidFill>
                  <a:schemeClr val="accent4"/>
                </a:solidFill>
              </a:rPr>
              <a:t>:</a:t>
            </a:r>
          </a:p>
          <a:p>
            <a:endParaRPr lang="en-US" dirty="0">
              <a:solidFill>
                <a:schemeClr val="accent4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4"/>
                </a:solidFill>
              </a:rPr>
              <a:t>Los </a:t>
            </a:r>
            <a:r>
              <a:rPr lang="en-US" sz="1600" dirty="0" err="1">
                <a:solidFill>
                  <a:schemeClr val="accent4"/>
                </a:solidFill>
              </a:rPr>
              <a:t>niveles</a:t>
            </a:r>
            <a:r>
              <a:rPr lang="en-US" sz="1600" dirty="0">
                <a:solidFill>
                  <a:schemeClr val="accent4"/>
                </a:solidFill>
              </a:rPr>
              <a:t> </a:t>
            </a:r>
            <a:r>
              <a:rPr lang="en-US" sz="1600" dirty="0" err="1">
                <a:solidFill>
                  <a:schemeClr val="accent4"/>
                </a:solidFill>
              </a:rPr>
              <a:t>más</a:t>
            </a:r>
            <a:r>
              <a:rPr lang="en-US" sz="1600" dirty="0">
                <a:solidFill>
                  <a:schemeClr val="accent4"/>
                </a:solidFill>
              </a:rPr>
              <a:t> altos de </a:t>
            </a:r>
            <a:r>
              <a:rPr lang="en-US" sz="1600" dirty="0" err="1">
                <a:solidFill>
                  <a:schemeClr val="accent4"/>
                </a:solidFill>
              </a:rPr>
              <a:t>Lp</a:t>
            </a:r>
            <a:r>
              <a:rPr lang="en-US" sz="1600" dirty="0">
                <a:solidFill>
                  <a:schemeClr val="accent4"/>
                </a:solidFill>
              </a:rPr>
              <a:t>(a)</a:t>
            </a:r>
            <a:r>
              <a:rPr lang="en-US" sz="1600" baseline="30000" dirty="0">
                <a:solidFill>
                  <a:schemeClr val="accent4"/>
                </a:solidFill>
              </a:rPr>
              <a:t>1</a:t>
            </a:r>
            <a:r>
              <a:rPr lang="en-US" sz="1600" dirty="0">
                <a:solidFill>
                  <a:schemeClr val="accent4"/>
                </a:solidFill>
              </a:rPr>
              <a:t> y </a:t>
            </a:r>
            <a:r>
              <a:rPr lang="en-US" sz="1600" dirty="0" err="1">
                <a:solidFill>
                  <a:schemeClr val="accent4"/>
                </a:solidFill>
              </a:rPr>
              <a:t>peores</a:t>
            </a:r>
            <a:r>
              <a:rPr lang="en-US" sz="1600" dirty="0">
                <a:solidFill>
                  <a:schemeClr val="accent4"/>
                </a:solidFill>
              </a:rPr>
              <a:t> </a:t>
            </a:r>
            <a:r>
              <a:rPr lang="en-US" sz="1600" dirty="0" err="1">
                <a:solidFill>
                  <a:schemeClr val="accent4"/>
                </a:solidFill>
              </a:rPr>
              <a:t>niveles</a:t>
            </a:r>
            <a:r>
              <a:rPr lang="en-US" sz="1600" dirty="0">
                <a:solidFill>
                  <a:schemeClr val="accent4"/>
                </a:solidFill>
              </a:rPr>
              <a:t> de intensificación</a:t>
            </a:r>
            <a:r>
              <a:rPr lang="en-US" sz="1600" baseline="30000" dirty="0">
                <a:solidFill>
                  <a:schemeClr val="accent4"/>
                </a:solidFill>
              </a:rPr>
              <a:t>2</a:t>
            </a:r>
            <a:r>
              <a:rPr lang="en-US" sz="1600" dirty="0">
                <a:solidFill>
                  <a:schemeClr val="accent4"/>
                </a:solidFill>
              </a:rPr>
              <a:t> y control de la dislipemia</a:t>
            </a:r>
            <a:r>
              <a:rPr lang="en-US" sz="1600" baseline="30000" dirty="0">
                <a:solidFill>
                  <a:schemeClr val="accent4"/>
                </a:solidFill>
              </a:rPr>
              <a:t>3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accent4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4"/>
                </a:solidFill>
              </a:rPr>
              <a:t>La </a:t>
            </a:r>
            <a:r>
              <a:rPr lang="en-US" sz="1600" dirty="0" err="1">
                <a:solidFill>
                  <a:schemeClr val="accent4"/>
                </a:solidFill>
              </a:rPr>
              <a:t>prevalencia</a:t>
            </a:r>
            <a:r>
              <a:rPr lang="en-US" sz="1600" dirty="0">
                <a:solidFill>
                  <a:schemeClr val="accent4"/>
                </a:solidFill>
              </a:rPr>
              <a:t> </a:t>
            </a:r>
            <a:r>
              <a:rPr lang="en-US" sz="1600" dirty="0" err="1">
                <a:solidFill>
                  <a:schemeClr val="accent4"/>
                </a:solidFill>
              </a:rPr>
              <a:t>más</a:t>
            </a:r>
            <a:r>
              <a:rPr lang="en-US" sz="1600" dirty="0">
                <a:solidFill>
                  <a:schemeClr val="accent4"/>
                </a:solidFill>
              </a:rPr>
              <a:t> </a:t>
            </a:r>
            <a:r>
              <a:rPr lang="en-US" sz="1600" dirty="0" err="1">
                <a:solidFill>
                  <a:schemeClr val="accent4"/>
                </a:solidFill>
              </a:rPr>
              <a:t>alta</a:t>
            </a:r>
            <a:r>
              <a:rPr lang="en-US" sz="1600" dirty="0">
                <a:solidFill>
                  <a:schemeClr val="accent4"/>
                </a:solidFill>
              </a:rPr>
              <a:t> de la </a:t>
            </a:r>
            <a:r>
              <a:rPr lang="en-US" sz="1600" dirty="0" err="1">
                <a:solidFill>
                  <a:schemeClr val="accent4"/>
                </a:solidFill>
              </a:rPr>
              <a:t>hipertensión</a:t>
            </a:r>
            <a:r>
              <a:rPr lang="en-US" sz="1600" dirty="0">
                <a:solidFill>
                  <a:schemeClr val="accent4"/>
                </a:solidFill>
              </a:rPr>
              <a:t> arterial a </a:t>
            </a:r>
            <a:r>
              <a:rPr lang="en-US" sz="1600" dirty="0" err="1">
                <a:solidFill>
                  <a:schemeClr val="accent4"/>
                </a:solidFill>
              </a:rPr>
              <a:t>nivel</a:t>
            </a:r>
            <a:r>
              <a:rPr lang="en-US" sz="1600" dirty="0">
                <a:solidFill>
                  <a:schemeClr val="accent4"/>
                </a:solidFill>
              </a:rPr>
              <a:t> global</a:t>
            </a:r>
            <a:r>
              <a:rPr lang="en-US" sz="1600" baseline="30000" dirty="0">
                <a:solidFill>
                  <a:schemeClr val="accent4"/>
                </a:solidFill>
              </a:rPr>
              <a:t>1</a:t>
            </a:r>
            <a:r>
              <a:rPr lang="en-US" sz="1600" dirty="0">
                <a:solidFill>
                  <a:schemeClr val="accent4"/>
                </a:solidFill>
              </a:rPr>
              <a:t>, </a:t>
            </a:r>
            <a:r>
              <a:rPr lang="en-US" sz="1600" dirty="0" err="1">
                <a:solidFill>
                  <a:schemeClr val="accent4"/>
                </a:solidFill>
              </a:rPr>
              <a:t>una</a:t>
            </a:r>
            <a:r>
              <a:rPr lang="en-US" sz="1600" dirty="0">
                <a:solidFill>
                  <a:schemeClr val="accent4"/>
                </a:solidFill>
              </a:rPr>
              <a:t> </a:t>
            </a:r>
            <a:r>
              <a:rPr lang="en-US" sz="1600" dirty="0" err="1">
                <a:solidFill>
                  <a:schemeClr val="accent4"/>
                </a:solidFill>
              </a:rPr>
              <a:t>hipertensión</a:t>
            </a:r>
            <a:r>
              <a:rPr lang="en-US" sz="1600" dirty="0">
                <a:solidFill>
                  <a:schemeClr val="accent4"/>
                </a:solidFill>
              </a:rPr>
              <a:t> </a:t>
            </a:r>
            <a:r>
              <a:rPr lang="en-US" sz="1600" dirty="0" err="1">
                <a:solidFill>
                  <a:schemeClr val="accent4"/>
                </a:solidFill>
              </a:rPr>
              <a:t>más</a:t>
            </a:r>
            <a:r>
              <a:rPr lang="en-US" sz="1600" dirty="0">
                <a:solidFill>
                  <a:schemeClr val="accent4"/>
                </a:solidFill>
              </a:rPr>
              <a:t> sensible a la sal</a:t>
            </a:r>
            <a:r>
              <a:rPr lang="en-US" sz="1600" baseline="30000" dirty="0">
                <a:solidFill>
                  <a:schemeClr val="accent4"/>
                </a:solidFill>
              </a:rPr>
              <a:t>4</a:t>
            </a:r>
            <a:r>
              <a:rPr lang="en-US" sz="1600" dirty="0">
                <a:solidFill>
                  <a:schemeClr val="accent4"/>
                </a:solidFill>
              </a:rPr>
              <a:t>, </a:t>
            </a:r>
            <a:r>
              <a:rPr lang="en-US" sz="1600" dirty="0" err="1">
                <a:solidFill>
                  <a:schemeClr val="accent4"/>
                </a:solidFill>
              </a:rPr>
              <a:t>menos</a:t>
            </a:r>
            <a:r>
              <a:rPr lang="en-US" sz="1600" dirty="0">
                <a:solidFill>
                  <a:schemeClr val="accent4"/>
                </a:solidFill>
              </a:rPr>
              <a:t> </a:t>
            </a:r>
            <a:r>
              <a:rPr lang="en-US" sz="1600" dirty="0" err="1">
                <a:solidFill>
                  <a:schemeClr val="accent4"/>
                </a:solidFill>
              </a:rPr>
              <a:t>adherencia</a:t>
            </a:r>
            <a:r>
              <a:rPr lang="en-US" sz="1600" dirty="0">
                <a:solidFill>
                  <a:schemeClr val="accent4"/>
                </a:solidFill>
              </a:rPr>
              <a:t> a </a:t>
            </a:r>
            <a:r>
              <a:rPr lang="en-US" sz="1600" dirty="0" err="1">
                <a:solidFill>
                  <a:schemeClr val="accent4"/>
                </a:solidFill>
              </a:rPr>
              <a:t>los</a:t>
            </a:r>
            <a:r>
              <a:rPr lang="en-US" sz="1600" dirty="0">
                <a:solidFill>
                  <a:schemeClr val="accent4"/>
                </a:solidFill>
              </a:rPr>
              <a:t> tratemientos</a:t>
            </a:r>
            <a:r>
              <a:rPr lang="en-US" sz="1600" baseline="30000" dirty="0">
                <a:solidFill>
                  <a:schemeClr val="accent4"/>
                </a:solidFill>
              </a:rPr>
              <a:t>5</a:t>
            </a:r>
            <a:r>
              <a:rPr lang="en-US" sz="1600" dirty="0">
                <a:solidFill>
                  <a:schemeClr val="accent4"/>
                </a:solidFill>
              </a:rPr>
              <a:t> y </a:t>
            </a:r>
            <a:r>
              <a:rPr lang="en-US" sz="1600" dirty="0" err="1">
                <a:solidFill>
                  <a:schemeClr val="accent4"/>
                </a:solidFill>
              </a:rPr>
              <a:t>peor</a:t>
            </a:r>
            <a:r>
              <a:rPr lang="en-US" sz="1600" dirty="0">
                <a:solidFill>
                  <a:schemeClr val="accent4"/>
                </a:solidFill>
              </a:rPr>
              <a:t> control de la hipertensión</a:t>
            </a:r>
            <a:r>
              <a:rPr lang="en-US" sz="1600" baseline="30000" dirty="0">
                <a:solidFill>
                  <a:schemeClr val="accent4"/>
                </a:solidFill>
              </a:rPr>
              <a:t>1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accent4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4"/>
                </a:solidFill>
              </a:rPr>
              <a:t>La </a:t>
            </a:r>
            <a:r>
              <a:rPr lang="en-US" sz="1600" dirty="0" err="1">
                <a:solidFill>
                  <a:schemeClr val="accent4"/>
                </a:solidFill>
              </a:rPr>
              <a:t>probalidad</a:t>
            </a:r>
            <a:r>
              <a:rPr lang="en-US" sz="1600" dirty="0">
                <a:solidFill>
                  <a:schemeClr val="accent4"/>
                </a:solidFill>
              </a:rPr>
              <a:t> </a:t>
            </a:r>
            <a:r>
              <a:rPr lang="en-US" sz="1600" dirty="0" err="1">
                <a:solidFill>
                  <a:schemeClr val="accent4"/>
                </a:solidFill>
              </a:rPr>
              <a:t>más</a:t>
            </a:r>
            <a:r>
              <a:rPr lang="en-US" sz="1600" dirty="0">
                <a:solidFill>
                  <a:schemeClr val="accent4"/>
                </a:solidFill>
              </a:rPr>
              <a:t> </a:t>
            </a:r>
            <a:r>
              <a:rPr lang="en-US" sz="1600" dirty="0" err="1">
                <a:solidFill>
                  <a:schemeClr val="accent4"/>
                </a:solidFill>
              </a:rPr>
              <a:t>alta</a:t>
            </a:r>
            <a:r>
              <a:rPr lang="en-US" sz="1600" dirty="0">
                <a:solidFill>
                  <a:schemeClr val="accent4"/>
                </a:solidFill>
              </a:rPr>
              <a:t> de </a:t>
            </a:r>
            <a:r>
              <a:rPr lang="en-US" sz="1600" dirty="0" err="1">
                <a:solidFill>
                  <a:schemeClr val="accent4"/>
                </a:solidFill>
              </a:rPr>
              <a:t>tener</a:t>
            </a:r>
            <a:r>
              <a:rPr lang="en-US" sz="1600" dirty="0">
                <a:solidFill>
                  <a:schemeClr val="accent4"/>
                </a:solidFill>
              </a:rPr>
              <a:t> diabetes (adultos</a:t>
            </a:r>
            <a:r>
              <a:rPr lang="en-US" sz="1600" baseline="30000" dirty="0">
                <a:solidFill>
                  <a:schemeClr val="accent4"/>
                </a:solidFill>
              </a:rPr>
              <a:t>6</a:t>
            </a:r>
            <a:r>
              <a:rPr lang="en-US" sz="1600" dirty="0">
                <a:solidFill>
                  <a:schemeClr val="accent4"/>
                </a:solidFill>
              </a:rPr>
              <a:t> y jóvenes</a:t>
            </a:r>
            <a:r>
              <a:rPr lang="en-US" sz="1600" baseline="30000" dirty="0">
                <a:solidFill>
                  <a:schemeClr val="accent4"/>
                </a:solidFill>
              </a:rPr>
              <a:t>1</a:t>
            </a:r>
            <a:r>
              <a:rPr lang="en-US" sz="1600" dirty="0">
                <a:solidFill>
                  <a:schemeClr val="accent4"/>
                </a:solidFill>
              </a:rPr>
              <a:t>), </a:t>
            </a:r>
            <a:r>
              <a:rPr lang="es-ES" sz="1600" dirty="0">
                <a:solidFill>
                  <a:schemeClr val="accent4"/>
                </a:solidFill>
              </a:rPr>
              <a:t>más probabilidades de tener complicaciones de la diabetes</a:t>
            </a:r>
            <a:r>
              <a:rPr lang="es-ES" sz="1600" baseline="30000" dirty="0">
                <a:solidFill>
                  <a:schemeClr val="accent4"/>
                </a:solidFill>
              </a:rPr>
              <a:t>6-8</a:t>
            </a:r>
            <a:r>
              <a:rPr lang="es-ES" sz="1600" dirty="0">
                <a:solidFill>
                  <a:schemeClr val="accent4"/>
                </a:solidFill>
              </a:rPr>
              <a:t>, y menos niveles de control (Hba1C &gt;8%)</a:t>
            </a:r>
            <a:r>
              <a:rPr lang="es-ES" sz="1600" baseline="30000" dirty="0">
                <a:solidFill>
                  <a:schemeClr val="accent4"/>
                </a:solidFill>
              </a:rPr>
              <a:t>1</a:t>
            </a:r>
            <a:r>
              <a:rPr lang="es-ES" sz="1600" dirty="0">
                <a:solidFill>
                  <a:schemeClr val="accent4"/>
                </a:solidFill>
              </a:rPr>
              <a:t>.</a:t>
            </a:r>
            <a:endParaRPr lang="en-US" sz="1600" dirty="0">
              <a:solidFill>
                <a:schemeClr val="accent4"/>
              </a:solidFill>
            </a:endParaRPr>
          </a:p>
          <a:p>
            <a:endParaRPr lang="en-US" dirty="0">
              <a:solidFill>
                <a:schemeClr val="accent4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accent4"/>
                </a:solidFill>
              </a:rPr>
              <a:t>El </a:t>
            </a:r>
            <a:r>
              <a:rPr lang="en-US" dirty="0" err="1">
                <a:solidFill>
                  <a:schemeClr val="accent4"/>
                </a:solidFill>
              </a:rPr>
              <a:t>estado</a:t>
            </a:r>
            <a:r>
              <a:rPr lang="en-US" dirty="0">
                <a:solidFill>
                  <a:schemeClr val="accent4"/>
                </a:solidFill>
              </a:rPr>
              <a:t> socio-</a:t>
            </a:r>
            <a:r>
              <a:rPr lang="en-US" dirty="0" err="1">
                <a:solidFill>
                  <a:schemeClr val="accent4"/>
                </a:solidFill>
              </a:rPr>
              <a:t>económico</a:t>
            </a:r>
            <a:r>
              <a:rPr lang="en-US" dirty="0">
                <a:solidFill>
                  <a:schemeClr val="accent4"/>
                </a:solidFill>
              </a:rPr>
              <a:t> </a:t>
            </a:r>
            <a:r>
              <a:rPr lang="en-US" dirty="0" err="1">
                <a:solidFill>
                  <a:schemeClr val="accent4"/>
                </a:solidFill>
              </a:rPr>
              <a:t>incluyendo</a:t>
            </a:r>
            <a:r>
              <a:rPr lang="en-US" dirty="0">
                <a:solidFill>
                  <a:schemeClr val="accent4"/>
                </a:solidFill>
              </a:rPr>
              <a:t> la </a:t>
            </a:r>
            <a:r>
              <a:rPr lang="en-US" dirty="0" err="1">
                <a:solidFill>
                  <a:schemeClr val="accent4"/>
                </a:solidFill>
              </a:rPr>
              <a:t>discriminación</a:t>
            </a:r>
            <a:r>
              <a:rPr lang="en-US" dirty="0">
                <a:solidFill>
                  <a:schemeClr val="accent4"/>
                </a:solidFill>
              </a:rPr>
              <a:t>, la </a:t>
            </a:r>
            <a:r>
              <a:rPr lang="en-US" dirty="0" err="1">
                <a:solidFill>
                  <a:schemeClr val="accent4"/>
                </a:solidFill>
              </a:rPr>
              <a:t>marginilización</a:t>
            </a:r>
            <a:r>
              <a:rPr lang="en-US" dirty="0">
                <a:solidFill>
                  <a:schemeClr val="accent4"/>
                </a:solidFill>
              </a:rPr>
              <a:t> y </a:t>
            </a:r>
            <a:r>
              <a:rPr lang="en-US" dirty="0" err="1">
                <a:solidFill>
                  <a:schemeClr val="accent4"/>
                </a:solidFill>
              </a:rPr>
              <a:t>el</a:t>
            </a:r>
            <a:r>
              <a:rPr lang="en-US" dirty="0">
                <a:solidFill>
                  <a:schemeClr val="accent4"/>
                </a:solidFill>
              </a:rPr>
              <a:t> </a:t>
            </a:r>
            <a:r>
              <a:rPr lang="en-US" dirty="0" err="1">
                <a:solidFill>
                  <a:schemeClr val="accent4"/>
                </a:solidFill>
              </a:rPr>
              <a:t>acceso</a:t>
            </a:r>
            <a:r>
              <a:rPr lang="en-US" dirty="0">
                <a:solidFill>
                  <a:schemeClr val="accent4"/>
                </a:solidFill>
              </a:rPr>
              <a:t> a la </a:t>
            </a:r>
            <a:r>
              <a:rPr lang="en-US" dirty="0" err="1">
                <a:solidFill>
                  <a:schemeClr val="accent4"/>
                </a:solidFill>
              </a:rPr>
              <a:t>sanidad</a:t>
            </a:r>
            <a:r>
              <a:rPr lang="en-US" dirty="0">
                <a:solidFill>
                  <a:schemeClr val="accent4"/>
                </a:solidFill>
              </a:rPr>
              <a:t> </a:t>
            </a:r>
            <a:r>
              <a:rPr lang="en-US" dirty="0" err="1">
                <a:solidFill>
                  <a:schemeClr val="accent4"/>
                </a:solidFill>
              </a:rPr>
              <a:t>juegan</a:t>
            </a:r>
            <a:r>
              <a:rPr lang="en-US" dirty="0">
                <a:solidFill>
                  <a:schemeClr val="accent4"/>
                </a:solidFill>
              </a:rPr>
              <a:t> un </a:t>
            </a:r>
            <a:r>
              <a:rPr lang="en-US" dirty="0" err="1">
                <a:solidFill>
                  <a:schemeClr val="accent4"/>
                </a:solidFill>
              </a:rPr>
              <a:t>papel</a:t>
            </a:r>
            <a:r>
              <a:rPr lang="en-US" dirty="0">
                <a:solidFill>
                  <a:schemeClr val="accent4"/>
                </a:solidFill>
              </a:rPr>
              <a:t> principal </a:t>
            </a:r>
            <a:r>
              <a:rPr lang="en-US" dirty="0" err="1">
                <a:solidFill>
                  <a:schemeClr val="accent4"/>
                </a:solidFill>
              </a:rPr>
              <a:t>en</a:t>
            </a:r>
            <a:r>
              <a:rPr lang="en-US" dirty="0">
                <a:solidFill>
                  <a:schemeClr val="accent4"/>
                </a:solidFill>
              </a:rPr>
              <a:t> </a:t>
            </a:r>
            <a:r>
              <a:rPr lang="en-US" dirty="0" err="1">
                <a:solidFill>
                  <a:schemeClr val="accent4"/>
                </a:solidFill>
              </a:rPr>
              <a:t>el</a:t>
            </a:r>
            <a:r>
              <a:rPr lang="en-US" dirty="0">
                <a:solidFill>
                  <a:schemeClr val="accent4"/>
                </a:solidFill>
              </a:rPr>
              <a:t> </a:t>
            </a:r>
            <a:r>
              <a:rPr lang="es-ES" dirty="0">
                <a:solidFill>
                  <a:schemeClr val="accent4"/>
                </a:solidFill>
              </a:rPr>
              <a:t>desarrollo y la evolución de cada uno de estos factores de riesgo CV</a:t>
            </a:r>
            <a:r>
              <a:rPr lang="es-ES" baseline="30000" dirty="0">
                <a:solidFill>
                  <a:schemeClr val="accent4"/>
                </a:solidFill>
              </a:rPr>
              <a:t>1,6,9</a:t>
            </a:r>
            <a:r>
              <a:rPr lang="es-ES" dirty="0">
                <a:solidFill>
                  <a:schemeClr val="accent4"/>
                </a:solidFill>
              </a:rPr>
              <a:t>.</a:t>
            </a:r>
            <a:endParaRPr lang="en-US" dirty="0">
              <a:solidFill>
                <a:schemeClr val="accent4"/>
              </a:solidFill>
            </a:endParaRPr>
          </a:p>
          <a:p>
            <a:endParaRPr lang="en-US" dirty="0">
              <a:solidFill>
                <a:schemeClr val="accent4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accent4"/>
                </a:solidFill>
              </a:rPr>
              <a:t>Las </a:t>
            </a:r>
            <a:r>
              <a:rPr lang="en-US" dirty="0" err="1">
                <a:solidFill>
                  <a:schemeClr val="accent4"/>
                </a:solidFill>
              </a:rPr>
              <a:t>calculadoras</a:t>
            </a:r>
            <a:r>
              <a:rPr lang="en-US" dirty="0">
                <a:solidFill>
                  <a:schemeClr val="accent4"/>
                </a:solidFill>
              </a:rPr>
              <a:t> de RCV que </a:t>
            </a:r>
            <a:r>
              <a:rPr lang="en-US" dirty="0" err="1">
                <a:solidFill>
                  <a:schemeClr val="accent4"/>
                </a:solidFill>
              </a:rPr>
              <a:t>incluyen</a:t>
            </a:r>
            <a:r>
              <a:rPr lang="en-US" dirty="0">
                <a:solidFill>
                  <a:schemeClr val="accent4"/>
                </a:solidFill>
              </a:rPr>
              <a:t> la raza </a:t>
            </a:r>
            <a:r>
              <a:rPr lang="en-US" dirty="0" err="1">
                <a:solidFill>
                  <a:schemeClr val="accent4"/>
                </a:solidFill>
              </a:rPr>
              <a:t>como</a:t>
            </a:r>
            <a:r>
              <a:rPr lang="en-US" dirty="0">
                <a:solidFill>
                  <a:schemeClr val="accent4"/>
                </a:solidFill>
              </a:rPr>
              <a:t> factor de </a:t>
            </a:r>
            <a:r>
              <a:rPr lang="en-US" dirty="0" err="1">
                <a:solidFill>
                  <a:schemeClr val="accent4"/>
                </a:solidFill>
              </a:rPr>
              <a:t>riesgo</a:t>
            </a:r>
            <a:r>
              <a:rPr lang="en-US" dirty="0">
                <a:solidFill>
                  <a:schemeClr val="accent4"/>
                </a:solidFill>
              </a:rPr>
              <a:t> </a:t>
            </a:r>
            <a:r>
              <a:rPr lang="en-US" dirty="0" err="1">
                <a:solidFill>
                  <a:schemeClr val="accent4"/>
                </a:solidFill>
              </a:rPr>
              <a:t>pueden</a:t>
            </a:r>
            <a:r>
              <a:rPr lang="en-US" dirty="0">
                <a:solidFill>
                  <a:schemeClr val="accent4"/>
                </a:solidFill>
              </a:rPr>
              <a:t> </a:t>
            </a:r>
            <a:r>
              <a:rPr lang="en-US" dirty="0" err="1">
                <a:solidFill>
                  <a:schemeClr val="accent4"/>
                </a:solidFill>
              </a:rPr>
              <a:t>estar</a:t>
            </a:r>
            <a:r>
              <a:rPr lang="en-US" dirty="0">
                <a:solidFill>
                  <a:schemeClr val="accent4"/>
                </a:solidFill>
              </a:rPr>
              <a:t> </a:t>
            </a:r>
            <a:r>
              <a:rPr lang="en-US" dirty="0" err="1">
                <a:solidFill>
                  <a:schemeClr val="accent4"/>
                </a:solidFill>
              </a:rPr>
              <a:t>sobreestimando</a:t>
            </a:r>
            <a:r>
              <a:rPr lang="en-US" dirty="0">
                <a:solidFill>
                  <a:schemeClr val="accent4"/>
                </a:solidFill>
              </a:rPr>
              <a:t> de forma </a:t>
            </a:r>
            <a:r>
              <a:rPr lang="en-US" dirty="0" err="1">
                <a:solidFill>
                  <a:schemeClr val="accent4"/>
                </a:solidFill>
              </a:rPr>
              <a:t>inconcebible</a:t>
            </a:r>
            <a:r>
              <a:rPr lang="en-US" dirty="0">
                <a:solidFill>
                  <a:schemeClr val="accent4"/>
                </a:solidFill>
              </a:rPr>
              <a:t> </a:t>
            </a:r>
            <a:r>
              <a:rPr lang="en-US" dirty="0" err="1">
                <a:solidFill>
                  <a:schemeClr val="accent4"/>
                </a:solidFill>
              </a:rPr>
              <a:t>el</a:t>
            </a:r>
            <a:r>
              <a:rPr lang="en-US" dirty="0">
                <a:solidFill>
                  <a:schemeClr val="accent4"/>
                </a:solidFill>
              </a:rPr>
              <a:t> </a:t>
            </a:r>
            <a:r>
              <a:rPr lang="en-US" dirty="0" err="1">
                <a:solidFill>
                  <a:schemeClr val="accent4"/>
                </a:solidFill>
              </a:rPr>
              <a:t>riesgo</a:t>
            </a:r>
            <a:r>
              <a:rPr lang="en-US" dirty="0">
                <a:solidFill>
                  <a:schemeClr val="accent4"/>
                </a:solidFill>
              </a:rPr>
              <a:t> cardiovascular </a:t>
            </a:r>
            <a:r>
              <a:rPr lang="en-US" dirty="0" err="1">
                <a:solidFill>
                  <a:schemeClr val="accent4"/>
                </a:solidFill>
              </a:rPr>
              <a:t>en</a:t>
            </a:r>
            <a:r>
              <a:rPr lang="en-US" dirty="0">
                <a:solidFill>
                  <a:schemeClr val="accent4"/>
                </a:solidFill>
              </a:rPr>
              <a:t> la población de raza </a:t>
            </a:r>
            <a:r>
              <a:rPr lang="en-US" dirty="0" err="1">
                <a:solidFill>
                  <a:schemeClr val="accent4"/>
                </a:solidFill>
              </a:rPr>
              <a:t>negra</a:t>
            </a:r>
            <a:r>
              <a:rPr lang="es-ES" baseline="30000" dirty="0">
                <a:solidFill>
                  <a:schemeClr val="accent4"/>
                </a:solidFill>
              </a:rPr>
              <a:t>10, </a:t>
            </a:r>
            <a:r>
              <a:rPr lang="es-ES" dirty="0">
                <a:solidFill>
                  <a:schemeClr val="accent4"/>
                </a:solidFill>
              </a:rPr>
              <a:t>y el uso de otros factores determinantes del RCV en vez de la raza pueden ser de más utilidad.</a:t>
            </a:r>
            <a:r>
              <a:rPr lang="en-US" dirty="0">
                <a:solidFill>
                  <a:schemeClr val="accent4"/>
                </a:solidFill>
              </a:rPr>
              <a:t> </a:t>
            </a:r>
            <a:endParaRPr lang="es-ES" dirty="0">
              <a:solidFill>
                <a:schemeClr val="accent4"/>
              </a:solidFill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37215B8D-E65A-D1AF-50B7-A683A666DC83}"/>
              </a:ext>
            </a:extLst>
          </p:cNvPr>
          <p:cNvSpPr txBox="1"/>
          <p:nvPr/>
        </p:nvSpPr>
        <p:spPr>
          <a:xfrm>
            <a:off x="394956" y="5835492"/>
            <a:ext cx="11601972" cy="84638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sz="700" b="1" dirty="0"/>
              <a:t>1</a:t>
            </a:r>
            <a:r>
              <a:rPr lang="en-US" sz="700" dirty="0"/>
              <a:t>. Martin SS, et al. 2025 Heart Disease and Stroke Statistics: A Report of US and Global Data From the American Heart Association. </a:t>
            </a:r>
            <a:r>
              <a:rPr lang="pt-BR" sz="700" dirty="0" err="1"/>
              <a:t>Circulation</a:t>
            </a:r>
            <a:r>
              <a:rPr lang="pt-BR" sz="700" dirty="0"/>
              <a:t>. 2025 </a:t>
            </a:r>
            <a:r>
              <a:rPr lang="pt-BR" sz="700" dirty="0" err="1"/>
              <a:t>Feb</a:t>
            </a:r>
            <a:r>
              <a:rPr lang="pt-BR" sz="700" dirty="0"/>
              <a:t> 25;151(8):e41-e660. </a:t>
            </a:r>
            <a:r>
              <a:rPr lang="en-US" sz="700" b="1" dirty="0"/>
              <a:t>2</a:t>
            </a:r>
            <a:r>
              <a:rPr lang="en-US" sz="700" dirty="0"/>
              <a:t>. </a:t>
            </a:r>
            <a:r>
              <a:rPr lang="en-US" sz="700" b="0" dirty="0"/>
              <a:t>Nanna MG, et al, Association of Patient Perceptions of Cardiovascular Risk and Beliefs on Statin Drugs With Racial Differences in Statin Use: Insights From the Patient and Provider Assessment of Lipid Management Registry. JAMA </a:t>
            </a:r>
            <a:r>
              <a:rPr lang="en-US" sz="700" b="0" dirty="0" err="1"/>
              <a:t>Cardiol</a:t>
            </a:r>
            <a:r>
              <a:rPr lang="en-US" sz="700" b="0" dirty="0"/>
              <a:t>. 2018 Aug 1;3(8):739-748. </a:t>
            </a:r>
            <a:r>
              <a:rPr lang="en-US" sz="700" b="1" dirty="0"/>
              <a:t>3</a:t>
            </a:r>
            <a:r>
              <a:rPr lang="en-US" sz="700" dirty="0"/>
              <a:t>.</a:t>
            </a:r>
            <a:r>
              <a:rPr lang="en-US" sz="700" b="0" dirty="0"/>
              <a:t>Turner BJ, et al. A Retrospective Cohort Study of the Potency of lipid-lowering therapy and Race-gender Differences in LDL cholesterol control. BMC Cardiovasc </a:t>
            </a:r>
            <a:r>
              <a:rPr lang="en-US" sz="700" b="0" dirty="0" err="1"/>
              <a:t>Disord</a:t>
            </a:r>
            <a:r>
              <a:rPr lang="en-US" sz="700" b="0" dirty="0"/>
              <a:t>. 2011 Sep 30:11:58. </a:t>
            </a:r>
            <a:r>
              <a:rPr lang="en-US" sz="700" b="1" dirty="0"/>
              <a:t>4</a:t>
            </a:r>
            <a:r>
              <a:rPr lang="en-US" sz="700" b="0" dirty="0"/>
              <a:t>. </a:t>
            </a:r>
            <a:r>
              <a:rPr lang="en-US" sz="700" dirty="0"/>
              <a:t>McEvoy JW, et al. 2024 ESC Guidelines for the management of elevated blood pressure and hypertension. European Heart Journal (2024) 00, 1–107. </a:t>
            </a:r>
            <a:r>
              <a:rPr lang="en-US" sz="700" b="1" dirty="0"/>
              <a:t>5.</a:t>
            </a:r>
            <a:r>
              <a:rPr lang="en-US" sz="700" dirty="0"/>
              <a:t> </a:t>
            </a:r>
            <a:r>
              <a:rPr lang="en-US" sz="700" dirty="0" err="1"/>
              <a:t>Muntner</a:t>
            </a:r>
            <a:r>
              <a:rPr lang="en-US" sz="700" dirty="0"/>
              <a:t> P, et al. Hypertension in African Americans: Unanswered Questions and Future Directions for the Jackson Heart Study. Hypertension. 2017 May ; 69(5): 761–769. </a:t>
            </a:r>
            <a:r>
              <a:rPr lang="en-US" sz="700" b="1" dirty="0"/>
              <a:t>6</a:t>
            </a:r>
            <a:r>
              <a:rPr lang="en-US" sz="700" dirty="0"/>
              <a:t>. Hill‑Briggs F, et al. Social Determinants of Health, Race, &amp; Diabetes Population Health Improvement: Black/African Americans as a Population Exemplar. Current Diabetes Reports (2022) 22:117–128. </a:t>
            </a:r>
            <a:r>
              <a:rPr lang="en-US" sz="700" b="1" dirty="0"/>
              <a:t>7</a:t>
            </a:r>
            <a:r>
              <a:rPr lang="en-US" sz="700" b="0" dirty="0"/>
              <a:t>. </a:t>
            </a:r>
            <a:r>
              <a:rPr lang="es-ES" sz="700" b="0" dirty="0"/>
              <a:t>Zhang X, et al. </a:t>
            </a:r>
            <a:r>
              <a:rPr lang="es-ES" sz="700" b="0" dirty="0" err="1"/>
              <a:t>Prevalence</a:t>
            </a:r>
            <a:r>
              <a:rPr lang="es-ES" sz="700" b="0" dirty="0"/>
              <a:t> </a:t>
            </a:r>
            <a:r>
              <a:rPr lang="es-ES" sz="700" b="0" dirty="0" err="1"/>
              <a:t>of</a:t>
            </a:r>
            <a:r>
              <a:rPr lang="es-ES" sz="700" b="0" dirty="0"/>
              <a:t> </a:t>
            </a:r>
            <a:r>
              <a:rPr lang="es-ES" sz="700" b="0" dirty="0" err="1"/>
              <a:t>Diabetic</a:t>
            </a:r>
            <a:r>
              <a:rPr lang="es-ES" sz="700" b="0" dirty="0"/>
              <a:t> </a:t>
            </a:r>
            <a:r>
              <a:rPr lang="es-ES" sz="700" b="0" dirty="0" err="1"/>
              <a:t>Retinopathy</a:t>
            </a:r>
            <a:r>
              <a:rPr lang="es-ES" sz="700" b="0" dirty="0"/>
              <a:t> in </a:t>
            </a:r>
            <a:r>
              <a:rPr lang="es-ES" sz="700" b="0" dirty="0" err="1"/>
              <a:t>the</a:t>
            </a:r>
            <a:r>
              <a:rPr lang="es-ES" sz="700" b="0" dirty="0"/>
              <a:t> </a:t>
            </a:r>
            <a:r>
              <a:rPr lang="es-ES" sz="700" b="0" dirty="0" err="1"/>
              <a:t>United</a:t>
            </a:r>
            <a:r>
              <a:rPr lang="es-ES" sz="700" b="0" dirty="0"/>
              <a:t> </a:t>
            </a:r>
            <a:r>
              <a:rPr lang="es-ES" sz="700" b="0" dirty="0" err="1"/>
              <a:t>States</a:t>
            </a:r>
            <a:r>
              <a:rPr lang="es-ES" sz="700" b="0" dirty="0"/>
              <a:t>, 2005-2008. JAMA. 2010;304(6):649-656.</a:t>
            </a:r>
            <a:r>
              <a:rPr lang="en-US" sz="700" b="0" dirty="0"/>
              <a:t> </a:t>
            </a:r>
            <a:r>
              <a:rPr lang="en-US" sz="700" b="1" dirty="0"/>
              <a:t>8.</a:t>
            </a:r>
            <a:r>
              <a:rPr lang="en-US" sz="700" b="0" dirty="0"/>
              <a:t> </a:t>
            </a:r>
            <a:r>
              <a:rPr lang="en-US" sz="700" b="0" dirty="0" err="1"/>
              <a:t>Ramphul</a:t>
            </a:r>
            <a:r>
              <a:rPr lang="en-US" sz="700" b="0" dirty="0"/>
              <a:t> K, </a:t>
            </a:r>
            <a:r>
              <a:rPr lang="en-US" sz="700" b="0" dirty="0" err="1"/>
              <a:t>Joynauth</a:t>
            </a:r>
            <a:r>
              <a:rPr lang="en-US" sz="700" b="0" dirty="0"/>
              <a:t> J. An update on the incidence and burden of diabetic ketoacidosis in the U.S. Diabetes Care. 2020;43:e196–e197. </a:t>
            </a:r>
            <a:r>
              <a:rPr lang="en-US" sz="700" b="1" dirty="0"/>
              <a:t>9</a:t>
            </a:r>
            <a:r>
              <a:rPr lang="en-US" sz="700" b="0" dirty="0"/>
              <a:t>. </a:t>
            </a:r>
            <a:r>
              <a:rPr lang="en-US" sz="700" b="0" dirty="0" err="1"/>
              <a:t>Abrahamowicz</a:t>
            </a:r>
            <a:r>
              <a:rPr lang="en-US" sz="700" b="0" dirty="0"/>
              <a:t> AA, et al. Curr </a:t>
            </a:r>
            <a:r>
              <a:rPr lang="en-US" sz="700" b="0" dirty="0" err="1"/>
              <a:t>Cardiol</a:t>
            </a:r>
            <a:r>
              <a:rPr lang="en-US" sz="700" b="0" dirty="0"/>
              <a:t> Rep. 2023 Jan 9;25(1):17–27. Racial and Ethnic Disparities in Hypertension: Barriers and Opportunities to Improve Blood Pressure Control. </a:t>
            </a:r>
            <a:r>
              <a:rPr lang="en-US" sz="700" b="1" dirty="0"/>
              <a:t>10</a:t>
            </a:r>
            <a:r>
              <a:rPr lang="en-US" sz="700" b="0" dirty="0"/>
              <a:t>. </a:t>
            </a:r>
            <a:r>
              <a:rPr lang="es-ES" sz="700" dirty="0" err="1"/>
              <a:t>Vasan</a:t>
            </a:r>
            <a:r>
              <a:rPr lang="es-ES" sz="700" dirty="0"/>
              <a:t> RS, van den </a:t>
            </a:r>
            <a:r>
              <a:rPr lang="es-ES" sz="700" dirty="0" err="1"/>
              <a:t>Heuvel</a:t>
            </a:r>
            <a:r>
              <a:rPr lang="es-ES" sz="700" dirty="0"/>
              <a:t> E, </a:t>
            </a:r>
            <a:r>
              <a:rPr lang="es-ES" sz="700" dirty="0" err="1"/>
              <a:t>Differences</a:t>
            </a:r>
            <a:r>
              <a:rPr lang="es-ES" sz="700" dirty="0"/>
              <a:t> in </a:t>
            </a:r>
            <a:r>
              <a:rPr lang="es-ES" sz="700" dirty="0" err="1"/>
              <a:t>estimates</a:t>
            </a:r>
            <a:r>
              <a:rPr lang="es-ES" sz="700" dirty="0"/>
              <a:t> </a:t>
            </a:r>
            <a:r>
              <a:rPr lang="es-ES" sz="700" dirty="0" err="1"/>
              <a:t>for</a:t>
            </a:r>
            <a:r>
              <a:rPr lang="es-ES" sz="700" dirty="0"/>
              <a:t> 10-year </a:t>
            </a:r>
            <a:r>
              <a:rPr lang="es-ES" sz="700" dirty="0" err="1"/>
              <a:t>risk</a:t>
            </a:r>
            <a:r>
              <a:rPr lang="es-ES" sz="700" dirty="0"/>
              <a:t> </a:t>
            </a:r>
            <a:r>
              <a:rPr lang="es-ES" sz="700" dirty="0" err="1"/>
              <a:t>of</a:t>
            </a:r>
            <a:r>
              <a:rPr lang="es-ES" sz="700" dirty="0"/>
              <a:t> cardiovascular </a:t>
            </a:r>
            <a:r>
              <a:rPr lang="es-ES" sz="700" dirty="0" err="1"/>
              <a:t>disease</a:t>
            </a:r>
            <a:r>
              <a:rPr lang="es-ES" sz="700" dirty="0"/>
              <a:t> in Black versus White </a:t>
            </a:r>
            <a:r>
              <a:rPr lang="es-ES" sz="700" dirty="0" err="1"/>
              <a:t>individuals</a:t>
            </a:r>
            <a:r>
              <a:rPr lang="es-ES" sz="700" dirty="0"/>
              <a:t> </a:t>
            </a:r>
            <a:r>
              <a:rPr lang="es-ES" sz="700" dirty="0" err="1"/>
              <a:t>with</a:t>
            </a:r>
            <a:r>
              <a:rPr lang="es-ES" sz="700" dirty="0"/>
              <a:t> </a:t>
            </a:r>
            <a:r>
              <a:rPr lang="es-ES" sz="700" dirty="0" err="1"/>
              <a:t>identical</a:t>
            </a:r>
            <a:r>
              <a:rPr lang="es-ES" sz="700" dirty="0"/>
              <a:t> </a:t>
            </a:r>
            <a:r>
              <a:rPr lang="es-ES" sz="700" dirty="0" err="1"/>
              <a:t>risk</a:t>
            </a:r>
            <a:r>
              <a:rPr lang="es-ES" sz="700" dirty="0"/>
              <a:t> factor </a:t>
            </a:r>
            <a:r>
              <a:rPr lang="es-ES" sz="700" dirty="0" err="1"/>
              <a:t>profiles</a:t>
            </a:r>
            <a:r>
              <a:rPr lang="es-ES" sz="700" dirty="0"/>
              <a:t> </a:t>
            </a:r>
            <a:r>
              <a:rPr lang="es-ES" sz="700" dirty="0" err="1"/>
              <a:t>using</a:t>
            </a:r>
            <a:r>
              <a:rPr lang="es-ES" sz="700" dirty="0"/>
              <a:t> </a:t>
            </a:r>
            <a:r>
              <a:rPr lang="es-ES" sz="700" dirty="0" err="1"/>
              <a:t>pooled</a:t>
            </a:r>
            <a:r>
              <a:rPr lang="es-ES" sz="700" dirty="0"/>
              <a:t> </a:t>
            </a:r>
            <a:r>
              <a:rPr lang="es-ES" sz="700" dirty="0" err="1"/>
              <a:t>cohort</a:t>
            </a:r>
            <a:r>
              <a:rPr lang="es-ES" sz="700" dirty="0"/>
              <a:t> </a:t>
            </a:r>
            <a:r>
              <a:rPr lang="es-ES" sz="700" dirty="0" err="1"/>
              <a:t>equations</a:t>
            </a:r>
            <a:r>
              <a:rPr lang="es-ES" sz="700" dirty="0"/>
              <a:t>: </a:t>
            </a:r>
            <a:r>
              <a:rPr lang="es-ES" sz="700" dirty="0" err="1"/>
              <a:t>an</a:t>
            </a:r>
            <a:r>
              <a:rPr lang="es-ES" sz="700" dirty="0"/>
              <a:t> in </a:t>
            </a:r>
            <a:r>
              <a:rPr lang="es-ES" sz="700" dirty="0" err="1"/>
              <a:t>silico</a:t>
            </a:r>
            <a:r>
              <a:rPr lang="es-ES" sz="700" dirty="0"/>
              <a:t> </a:t>
            </a:r>
            <a:r>
              <a:rPr lang="es-ES" sz="700" dirty="0" err="1"/>
              <a:t>cohort</a:t>
            </a:r>
            <a:r>
              <a:rPr lang="es-ES" sz="700" dirty="0"/>
              <a:t> </a:t>
            </a:r>
            <a:r>
              <a:rPr lang="es-ES" sz="700" dirty="0" err="1"/>
              <a:t>study</a:t>
            </a:r>
            <a:r>
              <a:rPr lang="es-ES" sz="700" dirty="0"/>
              <a:t>. </a:t>
            </a:r>
            <a:r>
              <a:rPr lang="en-US" sz="700" dirty="0"/>
              <a:t>Lancet Digit Health 2022; 4: e55–63</a:t>
            </a:r>
            <a:endParaRPr lang="es-ES" sz="700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1C0E8AA0-C505-3E33-18D7-54E41914632E}"/>
              </a:ext>
            </a:extLst>
          </p:cNvPr>
          <p:cNvSpPr txBox="1"/>
          <p:nvPr/>
        </p:nvSpPr>
        <p:spPr>
          <a:xfrm>
            <a:off x="3687318" y="176122"/>
            <a:ext cx="749579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s-ES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7A756A78-FD4B-B1FB-7E32-1DA362351D29}"/>
              </a:ext>
            </a:extLst>
          </p:cNvPr>
          <p:cNvSpPr txBox="1"/>
          <p:nvPr/>
        </p:nvSpPr>
        <p:spPr>
          <a:xfrm rot="16200000">
            <a:off x="10584462" y="3677419"/>
            <a:ext cx="25370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0</a:t>
            </a:r>
            <a:endParaRPr lang="es-ES" sz="12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5582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07506D3-A158-888A-2A9D-2F41B6D6C2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177" y="196773"/>
            <a:ext cx="4903186" cy="760793"/>
          </a:xfrm>
        </p:spPr>
        <p:txBody>
          <a:bodyPr/>
          <a:lstStyle/>
          <a:p>
            <a:r>
              <a:rPr lang="es-ES_tradnl" dirty="0"/>
              <a:t>Abreviaturas</a:t>
            </a:r>
            <a:endParaRPr lang="es-ES" dirty="0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BAB60A19-8F8C-CD88-B213-E08C41CF4E76}"/>
              </a:ext>
            </a:extLst>
          </p:cNvPr>
          <p:cNvSpPr txBox="1"/>
          <p:nvPr/>
        </p:nvSpPr>
        <p:spPr>
          <a:xfrm>
            <a:off x="328281" y="1326566"/>
            <a:ext cx="5043819" cy="36072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chemeClr val="accent1"/>
                </a:solidFill>
              </a:rPr>
              <a:t>CT</a:t>
            </a:r>
            <a:r>
              <a:rPr lang="en-US" sz="1400" dirty="0">
                <a:solidFill>
                  <a:schemeClr val="accent1"/>
                </a:solidFill>
              </a:rPr>
              <a:t>: cholesterol total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ES" sz="1400" b="1" dirty="0">
                <a:solidFill>
                  <a:schemeClr val="accent1"/>
                </a:solidFill>
              </a:rPr>
              <a:t>EAS</a:t>
            </a:r>
            <a:r>
              <a:rPr lang="es-ES" sz="1400" dirty="0">
                <a:solidFill>
                  <a:schemeClr val="accent1"/>
                </a:solidFill>
              </a:rPr>
              <a:t>: </a:t>
            </a:r>
            <a:r>
              <a:rPr lang="es-ES" sz="1400" dirty="0" err="1">
                <a:solidFill>
                  <a:schemeClr val="accent1"/>
                </a:solidFill>
              </a:rPr>
              <a:t>European</a:t>
            </a:r>
            <a:r>
              <a:rPr lang="es-ES" sz="1400" dirty="0">
                <a:solidFill>
                  <a:schemeClr val="accent1"/>
                </a:solidFill>
              </a:rPr>
              <a:t> </a:t>
            </a:r>
            <a:r>
              <a:rPr lang="es-ES" sz="1400" dirty="0" err="1">
                <a:solidFill>
                  <a:schemeClr val="accent1"/>
                </a:solidFill>
              </a:rPr>
              <a:t>Society</a:t>
            </a:r>
            <a:r>
              <a:rPr lang="es-ES" sz="1400" dirty="0">
                <a:solidFill>
                  <a:schemeClr val="accent1"/>
                </a:solidFill>
              </a:rPr>
              <a:t> </a:t>
            </a:r>
            <a:r>
              <a:rPr lang="es-ES" sz="1400" dirty="0" err="1">
                <a:solidFill>
                  <a:schemeClr val="accent1"/>
                </a:solidFill>
              </a:rPr>
              <a:t>of</a:t>
            </a:r>
            <a:r>
              <a:rPr lang="es-ES" sz="1400" dirty="0">
                <a:solidFill>
                  <a:schemeClr val="accent1"/>
                </a:solidFill>
              </a:rPr>
              <a:t> </a:t>
            </a:r>
            <a:r>
              <a:rPr lang="es-ES" sz="1400" dirty="0" err="1">
                <a:solidFill>
                  <a:schemeClr val="accent1"/>
                </a:solidFill>
              </a:rPr>
              <a:t>Atherosclerosis</a:t>
            </a:r>
            <a:endParaRPr lang="es-ES" sz="1400" dirty="0">
              <a:solidFill>
                <a:schemeClr val="accent1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chemeClr val="accent1"/>
                </a:solidFill>
              </a:rPr>
              <a:t>ECV</a:t>
            </a:r>
            <a:r>
              <a:rPr lang="en-US" sz="1400" dirty="0">
                <a:solidFill>
                  <a:schemeClr val="accent1"/>
                </a:solidFill>
              </a:rPr>
              <a:t>: </a:t>
            </a:r>
            <a:r>
              <a:rPr lang="en-US" sz="1400" dirty="0" err="1">
                <a:solidFill>
                  <a:schemeClr val="accent1"/>
                </a:solidFill>
              </a:rPr>
              <a:t>enfermedad</a:t>
            </a:r>
            <a:r>
              <a:rPr lang="en-US" sz="1400" dirty="0">
                <a:solidFill>
                  <a:schemeClr val="accent1"/>
                </a:solidFill>
              </a:rPr>
              <a:t> cardiovascular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chemeClr val="accent1"/>
                </a:solidFill>
              </a:rPr>
              <a:t>ECVAS</a:t>
            </a:r>
            <a:r>
              <a:rPr lang="en-US" sz="1400" dirty="0">
                <a:solidFill>
                  <a:schemeClr val="accent1"/>
                </a:solidFill>
              </a:rPr>
              <a:t>: </a:t>
            </a:r>
            <a:r>
              <a:rPr lang="en-US" sz="1400" dirty="0" err="1">
                <a:solidFill>
                  <a:schemeClr val="accent1"/>
                </a:solidFill>
              </a:rPr>
              <a:t>enfermedad</a:t>
            </a:r>
            <a:r>
              <a:rPr lang="en-US" sz="1400" dirty="0">
                <a:solidFill>
                  <a:schemeClr val="accent1"/>
                </a:solidFill>
              </a:rPr>
              <a:t> cardiovascular </a:t>
            </a:r>
            <a:r>
              <a:rPr lang="en-US" sz="1400" dirty="0" err="1">
                <a:solidFill>
                  <a:schemeClr val="accent1"/>
                </a:solidFill>
              </a:rPr>
              <a:t>aterosclerótica</a:t>
            </a:r>
            <a:endParaRPr lang="en-US" sz="1400" dirty="0">
              <a:solidFill>
                <a:schemeClr val="accent1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chemeClr val="accent1"/>
                </a:solidFill>
              </a:rPr>
              <a:t>ERC</a:t>
            </a:r>
            <a:r>
              <a:rPr lang="en-US" sz="1400" dirty="0">
                <a:solidFill>
                  <a:schemeClr val="accent1"/>
                </a:solidFill>
              </a:rPr>
              <a:t>: </a:t>
            </a:r>
            <a:r>
              <a:rPr lang="en-US" sz="1400" dirty="0" err="1">
                <a:solidFill>
                  <a:schemeClr val="accent1"/>
                </a:solidFill>
              </a:rPr>
              <a:t>enfermedad</a:t>
            </a:r>
            <a:r>
              <a:rPr lang="en-US" sz="1400" dirty="0">
                <a:solidFill>
                  <a:schemeClr val="accent1"/>
                </a:solidFill>
              </a:rPr>
              <a:t> renal </a:t>
            </a:r>
            <a:r>
              <a:rPr lang="en-US" sz="1400" dirty="0" err="1">
                <a:solidFill>
                  <a:schemeClr val="accent1"/>
                </a:solidFill>
              </a:rPr>
              <a:t>crónica</a:t>
            </a:r>
            <a:endParaRPr lang="en-US" sz="1400" dirty="0">
              <a:solidFill>
                <a:schemeClr val="accent1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ES" sz="1400" b="1" dirty="0">
                <a:solidFill>
                  <a:schemeClr val="accent1"/>
                </a:solidFill>
              </a:rPr>
              <a:t>ESC</a:t>
            </a:r>
            <a:r>
              <a:rPr lang="es-ES" sz="1400" dirty="0">
                <a:solidFill>
                  <a:schemeClr val="accent1"/>
                </a:solidFill>
              </a:rPr>
              <a:t>: </a:t>
            </a:r>
            <a:r>
              <a:rPr lang="es-ES" sz="1400" dirty="0" err="1">
                <a:solidFill>
                  <a:schemeClr val="accent1"/>
                </a:solidFill>
              </a:rPr>
              <a:t>European</a:t>
            </a:r>
            <a:r>
              <a:rPr lang="es-ES" sz="1400" dirty="0">
                <a:solidFill>
                  <a:schemeClr val="accent1"/>
                </a:solidFill>
              </a:rPr>
              <a:t> </a:t>
            </a:r>
            <a:r>
              <a:rPr lang="es-ES" sz="1400" dirty="0" err="1">
                <a:solidFill>
                  <a:schemeClr val="accent1"/>
                </a:solidFill>
              </a:rPr>
              <a:t>Society</a:t>
            </a:r>
            <a:r>
              <a:rPr lang="es-ES" sz="1400" dirty="0">
                <a:solidFill>
                  <a:schemeClr val="accent1"/>
                </a:solidFill>
              </a:rPr>
              <a:t> </a:t>
            </a:r>
            <a:r>
              <a:rPr lang="es-ES" sz="1400" dirty="0" err="1">
                <a:solidFill>
                  <a:schemeClr val="accent1"/>
                </a:solidFill>
              </a:rPr>
              <a:t>of</a:t>
            </a:r>
            <a:r>
              <a:rPr lang="es-ES" sz="1400" dirty="0">
                <a:solidFill>
                  <a:schemeClr val="accent1"/>
                </a:solidFill>
              </a:rPr>
              <a:t> </a:t>
            </a:r>
            <a:r>
              <a:rPr lang="es-ES" sz="1400" dirty="0" err="1">
                <a:solidFill>
                  <a:schemeClr val="accent1"/>
                </a:solidFill>
              </a:rPr>
              <a:t>Cardiology</a:t>
            </a:r>
            <a:r>
              <a:rPr lang="es-ES" sz="1400" dirty="0">
                <a:solidFill>
                  <a:schemeClr val="accent1"/>
                </a:solidFill>
              </a:rPr>
              <a:t>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ES" sz="1400" b="1" dirty="0">
                <a:solidFill>
                  <a:schemeClr val="accent1"/>
                </a:solidFill>
              </a:rPr>
              <a:t>ESRD</a:t>
            </a:r>
            <a:r>
              <a:rPr lang="es-ES" sz="1400" dirty="0">
                <a:solidFill>
                  <a:schemeClr val="accent1"/>
                </a:solidFill>
              </a:rPr>
              <a:t>: </a:t>
            </a:r>
            <a:r>
              <a:rPr lang="es-ES" sz="1400" dirty="0" err="1">
                <a:solidFill>
                  <a:schemeClr val="accent1"/>
                </a:solidFill>
              </a:rPr>
              <a:t>end-stage</a:t>
            </a:r>
            <a:r>
              <a:rPr lang="es-ES" sz="1400" dirty="0">
                <a:solidFill>
                  <a:schemeClr val="accent1"/>
                </a:solidFill>
              </a:rPr>
              <a:t> renal </a:t>
            </a:r>
            <a:r>
              <a:rPr lang="es-ES" sz="1400" dirty="0" err="1">
                <a:solidFill>
                  <a:schemeClr val="accent1"/>
                </a:solidFill>
              </a:rPr>
              <a:t>disease</a:t>
            </a:r>
            <a:endParaRPr lang="es-ES" sz="1400" dirty="0">
              <a:solidFill>
                <a:schemeClr val="accent1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ES" sz="1400" b="1" dirty="0" err="1">
                <a:solidFill>
                  <a:schemeClr val="accent1"/>
                </a:solidFill>
              </a:rPr>
              <a:t>Lp</a:t>
            </a:r>
            <a:r>
              <a:rPr lang="es-ES" sz="1400" b="1" dirty="0">
                <a:solidFill>
                  <a:schemeClr val="accent1"/>
                </a:solidFill>
              </a:rPr>
              <a:t>(a)</a:t>
            </a:r>
            <a:r>
              <a:rPr lang="es-ES" sz="1400" dirty="0">
                <a:solidFill>
                  <a:schemeClr val="accent1"/>
                </a:solidFill>
              </a:rPr>
              <a:t>: lipoproteína (a)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ES" sz="1400" b="1" dirty="0">
                <a:solidFill>
                  <a:schemeClr val="accent1"/>
                </a:solidFill>
              </a:rPr>
              <a:t>PAS</a:t>
            </a:r>
            <a:r>
              <a:rPr lang="es-ES" sz="1400" dirty="0">
                <a:solidFill>
                  <a:schemeClr val="accent1"/>
                </a:solidFill>
              </a:rPr>
              <a:t>: presión arterial sistólica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ES" sz="1400" b="1" dirty="0">
                <a:solidFill>
                  <a:schemeClr val="accent1"/>
                </a:solidFill>
              </a:rPr>
              <a:t>PAD</a:t>
            </a:r>
            <a:r>
              <a:rPr lang="es-ES" sz="1400" dirty="0">
                <a:solidFill>
                  <a:schemeClr val="accent1"/>
                </a:solidFill>
              </a:rPr>
              <a:t>: presión arterial diastólica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ES" sz="1400" b="1" dirty="0">
                <a:solidFill>
                  <a:schemeClr val="accent1"/>
                </a:solidFill>
              </a:rPr>
              <a:t>PCSK9</a:t>
            </a:r>
            <a:r>
              <a:rPr lang="es-ES" sz="1400" dirty="0">
                <a:solidFill>
                  <a:schemeClr val="accent1"/>
                </a:solidFill>
              </a:rPr>
              <a:t>: </a:t>
            </a:r>
            <a:r>
              <a:rPr lang="es-ES" sz="1400" dirty="0" err="1">
                <a:solidFill>
                  <a:schemeClr val="accent1"/>
                </a:solidFill>
              </a:rPr>
              <a:t>proproteína</a:t>
            </a:r>
            <a:r>
              <a:rPr lang="es-ES" sz="1400" dirty="0">
                <a:solidFill>
                  <a:schemeClr val="accent1"/>
                </a:solidFill>
              </a:rPr>
              <a:t> convertasa </a:t>
            </a:r>
            <a:r>
              <a:rPr lang="es-ES" sz="1400" dirty="0" err="1">
                <a:solidFill>
                  <a:schemeClr val="accent1"/>
                </a:solidFill>
              </a:rPr>
              <a:t>subtilisina</a:t>
            </a:r>
            <a:r>
              <a:rPr lang="es-ES" sz="1400" dirty="0">
                <a:solidFill>
                  <a:schemeClr val="accent1"/>
                </a:solidFill>
              </a:rPr>
              <a:t>/</a:t>
            </a:r>
            <a:r>
              <a:rPr lang="es-ES" sz="1400" dirty="0" err="1">
                <a:solidFill>
                  <a:schemeClr val="accent1"/>
                </a:solidFill>
              </a:rPr>
              <a:t>kexina</a:t>
            </a:r>
            <a:r>
              <a:rPr lang="es-ES" sz="1400" dirty="0">
                <a:solidFill>
                  <a:schemeClr val="accent1"/>
                </a:solidFill>
              </a:rPr>
              <a:t> tipo 9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E90BE619-4DCA-9FF2-885D-3BFC2C778542}"/>
              </a:ext>
            </a:extLst>
          </p:cNvPr>
          <p:cNvSpPr/>
          <p:nvPr/>
        </p:nvSpPr>
        <p:spPr>
          <a:xfrm>
            <a:off x="6062381" y="41647"/>
            <a:ext cx="72000" cy="680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32913DEA-8040-271E-A33E-D13271FE5DC8}"/>
              </a:ext>
            </a:extLst>
          </p:cNvPr>
          <p:cNvSpPr/>
          <p:nvPr/>
        </p:nvSpPr>
        <p:spPr>
          <a:xfrm rot="5400000">
            <a:off x="6065228" y="-4935238"/>
            <a:ext cx="72000" cy="12132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94B65C89-05CE-86C9-B3B4-CA489212A45E}"/>
              </a:ext>
            </a:extLst>
          </p:cNvPr>
          <p:cNvSpPr txBox="1">
            <a:spLocks/>
          </p:cNvSpPr>
          <p:nvPr/>
        </p:nvSpPr>
        <p:spPr>
          <a:xfrm>
            <a:off x="6651261" y="210165"/>
            <a:ext cx="4903186" cy="76079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dirty="0"/>
              <a:t>Estudios de RCV y raza negra</a:t>
            </a:r>
            <a:endParaRPr lang="es-ES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DCEF177F-8B2B-C084-8F21-B5406C74DDC8}"/>
              </a:ext>
            </a:extLst>
          </p:cNvPr>
          <p:cNvSpPr txBox="1"/>
          <p:nvPr/>
        </p:nvSpPr>
        <p:spPr>
          <a:xfrm>
            <a:off x="6302697" y="1437621"/>
            <a:ext cx="5718974" cy="32840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chemeClr val="accent1"/>
                </a:solidFill>
              </a:rPr>
              <a:t>A-</a:t>
            </a:r>
            <a:r>
              <a:rPr lang="en-US" sz="1400" b="1" dirty="0" err="1">
                <a:solidFill>
                  <a:schemeClr val="accent1"/>
                </a:solidFill>
              </a:rPr>
              <a:t>HeFT</a:t>
            </a:r>
            <a:r>
              <a:rPr lang="en-US" sz="1400" dirty="0">
                <a:solidFill>
                  <a:schemeClr val="accent1"/>
                </a:solidFill>
              </a:rPr>
              <a:t>: The African American Heart Failure Trial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ES_tradnl" sz="1400" b="1" dirty="0">
                <a:solidFill>
                  <a:schemeClr val="accent1"/>
                </a:solidFill>
              </a:rPr>
              <a:t>ARIC: </a:t>
            </a:r>
            <a:r>
              <a:rPr lang="es-ES_tradnl" sz="1400" dirty="0" err="1">
                <a:solidFill>
                  <a:schemeClr val="accent1"/>
                </a:solidFill>
              </a:rPr>
              <a:t>Atherosclerotic</a:t>
            </a:r>
            <a:r>
              <a:rPr lang="es-ES_tradnl" sz="1400" dirty="0">
                <a:solidFill>
                  <a:schemeClr val="accent1"/>
                </a:solidFill>
              </a:rPr>
              <a:t> </a:t>
            </a:r>
            <a:r>
              <a:rPr lang="es-ES_tradnl" sz="1400" dirty="0" err="1">
                <a:solidFill>
                  <a:schemeClr val="accent1"/>
                </a:solidFill>
              </a:rPr>
              <a:t>Risk</a:t>
            </a:r>
            <a:r>
              <a:rPr lang="es-ES_tradnl" sz="1400" dirty="0">
                <a:solidFill>
                  <a:schemeClr val="accent1"/>
                </a:solidFill>
              </a:rPr>
              <a:t> in </a:t>
            </a:r>
            <a:r>
              <a:rPr lang="es-ES_tradnl" sz="1400" dirty="0" err="1">
                <a:solidFill>
                  <a:schemeClr val="accent1"/>
                </a:solidFill>
              </a:rPr>
              <a:t>the</a:t>
            </a:r>
            <a:r>
              <a:rPr lang="es-ES_tradnl" sz="1400" dirty="0">
                <a:solidFill>
                  <a:schemeClr val="accent1"/>
                </a:solidFill>
              </a:rPr>
              <a:t> </a:t>
            </a:r>
            <a:r>
              <a:rPr lang="es-ES_tradnl" sz="1400" dirty="0" err="1">
                <a:solidFill>
                  <a:schemeClr val="accent1"/>
                </a:solidFill>
              </a:rPr>
              <a:t>Community</a:t>
            </a:r>
            <a:endParaRPr lang="es-ES_tradnl" sz="1400" dirty="0">
              <a:solidFill>
                <a:schemeClr val="accent1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ES_tradnl" sz="1400" b="1" dirty="0">
                <a:solidFill>
                  <a:schemeClr val="accent1"/>
                </a:solidFill>
              </a:rPr>
              <a:t>BWHS: </a:t>
            </a:r>
            <a:r>
              <a:rPr lang="es-ES_tradnl" sz="1400" dirty="0">
                <a:solidFill>
                  <a:schemeClr val="accent1"/>
                </a:solidFill>
              </a:rPr>
              <a:t>Black </a:t>
            </a:r>
            <a:r>
              <a:rPr lang="es-ES_tradnl" sz="1400" dirty="0" err="1">
                <a:solidFill>
                  <a:schemeClr val="accent1"/>
                </a:solidFill>
              </a:rPr>
              <a:t>Women´s</a:t>
            </a:r>
            <a:r>
              <a:rPr lang="es-ES_tradnl" sz="1400" dirty="0">
                <a:solidFill>
                  <a:schemeClr val="accent1"/>
                </a:solidFill>
              </a:rPr>
              <a:t> </a:t>
            </a:r>
            <a:r>
              <a:rPr lang="es-ES_tradnl" sz="1400" dirty="0" err="1">
                <a:solidFill>
                  <a:schemeClr val="accent1"/>
                </a:solidFill>
              </a:rPr>
              <a:t>Health</a:t>
            </a:r>
            <a:r>
              <a:rPr lang="es-ES_tradnl" sz="1400" dirty="0">
                <a:solidFill>
                  <a:schemeClr val="accent1"/>
                </a:solidFill>
              </a:rPr>
              <a:t> </a:t>
            </a:r>
            <a:r>
              <a:rPr lang="es-ES_tradnl" sz="1400" dirty="0" err="1">
                <a:solidFill>
                  <a:schemeClr val="accent1"/>
                </a:solidFill>
              </a:rPr>
              <a:t>Study</a:t>
            </a:r>
            <a:endParaRPr lang="es-ES_tradnl" sz="1400" dirty="0">
              <a:solidFill>
                <a:schemeClr val="accent1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ES_tradnl" sz="1400" b="1" dirty="0">
                <a:solidFill>
                  <a:schemeClr val="accent1"/>
                </a:solidFill>
              </a:rPr>
              <a:t>CREOLE: </a:t>
            </a:r>
            <a:r>
              <a:rPr lang="es-ES_tradnl" sz="1400" dirty="0" err="1">
                <a:solidFill>
                  <a:schemeClr val="accent1"/>
                </a:solidFill>
              </a:rPr>
              <a:t>Comparison</a:t>
            </a:r>
            <a:r>
              <a:rPr lang="es-ES_tradnl" sz="1400" dirty="0">
                <a:solidFill>
                  <a:schemeClr val="accent1"/>
                </a:solidFill>
              </a:rPr>
              <a:t> </a:t>
            </a:r>
            <a:r>
              <a:rPr lang="es-ES_tradnl" sz="1400" dirty="0" err="1">
                <a:solidFill>
                  <a:schemeClr val="accent1"/>
                </a:solidFill>
              </a:rPr>
              <a:t>of</a:t>
            </a:r>
            <a:r>
              <a:rPr lang="es-ES_tradnl" sz="1400" dirty="0">
                <a:solidFill>
                  <a:schemeClr val="accent1"/>
                </a:solidFill>
              </a:rPr>
              <a:t> 3 </a:t>
            </a:r>
            <a:r>
              <a:rPr lang="es-ES_tradnl" sz="1400" dirty="0" err="1">
                <a:solidFill>
                  <a:schemeClr val="accent1"/>
                </a:solidFill>
              </a:rPr>
              <a:t>Combination</a:t>
            </a:r>
            <a:r>
              <a:rPr lang="es-ES_tradnl" sz="1400" dirty="0">
                <a:solidFill>
                  <a:schemeClr val="accent1"/>
                </a:solidFill>
              </a:rPr>
              <a:t> </a:t>
            </a:r>
            <a:r>
              <a:rPr lang="es-ES_tradnl" sz="1400" dirty="0" err="1">
                <a:solidFill>
                  <a:schemeClr val="accent1"/>
                </a:solidFill>
              </a:rPr>
              <a:t>Therapies</a:t>
            </a:r>
            <a:r>
              <a:rPr lang="es-ES_tradnl" sz="1400" dirty="0">
                <a:solidFill>
                  <a:schemeClr val="accent1"/>
                </a:solidFill>
              </a:rPr>
              <a:t> in </a:t>
            </a:r>
            <a:r>
              <a:rPr lang="es-ES_tradnl" sz="1400" dirty="0" err="1">
                <a:solidFill>
                  <a:schemeClr val="accent1"/>
                </a:solidFill>
              </a:rPr>
              <a:t>Lowering</a:t>
            </a:r>
            <a:r>
              <a:rPr lang="es-ES_tradnl" sz="1400" dirty="0">
                <a:solidFill>
                  <a:schemeClr val="accent1"/>
                </a:solidFill>
              </a:rPr>
              <a:t> </a:t>
            </a:r>
            <a:r>
              <a:rPr lang="es-ES_tradnl" sz="1400" dirty="0" err="1">
                <a:solidFill>
                  <a:schemeClr val="accent1"/>
                </a:solidFill>
              </a:rPr>
              <a:t>Blood</a:t>
            </a:r>
            <a:r>
              <a:rPr lang="es-ES_tradnl" sz="1400" dirty="0">
                <a:solidFill>
                  <a:schemeClr val="accent1"/>
                </a:solidFill>
              </a:rPr>
              <a:t> </a:t>
            </a:r>
            <a:r>
              <a:rPr lang="es-ES_tradnl" sz="1400" dirty="0" err="1">
                <a:solidFill>
                  <a:schemeClr val="accent1"/>
                </a:solidFill>
              </a:rPr>
              <a:t>Pressure</a:t>
            </a:r>
            <a:r>
              <a:rPr lang="es-ES_tradnl" sz="1400" dirty="0">
                <a:solidFill>
                  <a:schemeClr val="accent1"/>
                </a:solidFill>
              </a:rPr>
              <a:t> in Black </a:t>
            </a:r>
            <a:r>
              <a:rPr lang="es-ES_tradnl" sz="1400" dirty="0" err="1">
                <a:solidFill>
                  <a:schemeClr val="accent1"/>
                </a:solidFill>
              </a:rPr>
              <a:t>Africans</a:t>
            </a:r>
            <a:endParaRPr lang="es-ES_tradnl" sz="1400" dirty="0">
              <a:solidFill>
                <a:schemeClr val="accent1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ES" sz="1400" b="1" dirty="0">
                <a:solidFill>
                  <a:schemeClr val="accent1"/>
                </a:solidFill>
              </a:rPr>
              <a:t>JHS: </a:t>
            </a:r>
            <a:r>
              <a:rPr lang="es-ES" sz="1400" dirty="0">
                <a:solidFill>
                  <a:schemeClr val="accent1"/>
                </a:solidFill>
              </a:rPr>
              <a:t>Jackson Heart </a:t>
            </a:r>
            <a:r>
              <a:rPr lang="es-ES" sz="1400" dirty="0" err="1">
                <a:solidFill>
                  <a:schemeClr val="accent1"/>
                </a:solidFill>
              </a:rPr>
              <a:t>Study</a:t>
            </a:r>
            <a:endParaRPr lang="es-ES" sz="1400" dirty="0">
              <a:solidFill>
                <a:schemeClr val="accent1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chemeClr val="accent1"/>
                </a:solidFill>
              </a:rPr>
              <a:t>Look AHEAD</a:t>
            </a:r>
            <a:r>
              <a:rPr lang="en-US" sz="1400" dirty="0">
                <a:solidFill>
                  <a:schemeClr val="accent1"/>
                </a:solidFill>
              </a:rPr>
              <a:t>: Action for Health in Diabetes</a:t>
            </a:r>
            <a:endParaRPr lang="es-ES" sz="1400" dirty="0">
              <a:solidFill>
                <a:schemeClr val="accent1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ES_tradnl" sz="1400" b="1" dirty="0">
                <a:solidFill>
                  <a:schemeClr val="accent1"/>
                </a:solidFill>
              </a:rPr>
              <a:t>MESA: </a:t>
            </a:r>
            <a:r>
              <a:rPr lang="es-ES_tradnl" sz="1400" dirty="0">
                <a:solidFill>
                  <a:schemeClr val="accent1"/>
                </a:solidFill>
              </a:rPr>
              <a:t>Multi-</a:t>
            </a:r>
            <a:r>
              <a:rPr lang="es-ES_tradnl" sz="1400" dirty="0" err="1">
                <a:solidFill>
                  <a:schemeClr val="accent1"/>
                </a:solidFill>
              </a:rPr>
              <a:t>Ethnic</a:t>
            </a:r>
            <a:r>
              <a:rPr lang="es-ES_tradnl" sz="1400" dirty="0">
                <a:solidFill>
                  <a:schemeClr val="accent1"/>
                </a:solidFill>
              </a:rPr>
              <a:t> </a:t>
            </a:r>
            <a:r>
              <a:rPr lang="es-ES_tradnl" sz="1400" dirty="0" err="1">
                <a:solidFill>
                  <a:schemeClr val="accent1"/>
                </a:solidFill>
              </a:rPr>
              <a:t>Study</a:t>
            </a:r>
            <a:r>
              <a:rPr lang="es-ES_tradnl" sz="1400" dirty="0">
                <a:solidFill>
                  <a:schemeClr val="accent1"/>
                </a:solidFill>
              </a:rPr>
              <a:t> </a:t>
            </a:r>
            <a:r>
              <a:rPr lang="es-ES_tradnl" sz="1400" dirty="0" err="1">
                <a:solidFill>
                  <a:schemeClr val="accent1"/>
                </a:solidFill>
              </a:rPr>
              <a:t>of</a:t>
            </a:r>
            <a:r>
              <a:rPr lang="es-ES_tradnl" sz="1400" dirty="0">
                <a:solidFill>
                  <a:schemeClr val="accent1"/>
                </a:solidFill>
              </a:rPr>
              <a:t> </a:t>
            </a:r>
            <a:r>
              <a:rPr lang="es-ES_tradnl" sz="1400" dirty="0" err="1">
                <a:solidFill>
                  <a:schemeClr val="accent1"/>
                </a:solidFill>
              </a:rPr>
              <a:t>Athersclerosis</a:t>
            </a:r>
            <a:endParaRPr lang="es-ES_tradnl" sz="1400" dirty="0">
              <a:solidFill>
                <a:schemeClr val="accent1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chemeClr val="accent1"/>
                </a:solidFill>
              </a:rPr>
              <a:t>REGARDS</a:t>
            </a:r>
            <a:r>
              <a:rPr lang="en-US" sz="1400" dirty="0">
                <a:solidFill>
                  <a:schemeClr val="accent1"/>
                </a:solidFill>
              </a:rPr>
              <a:t>: Reasons for Geographic and Racial Differences in Stroke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91B4DA13-CA82-9D92-8F80-F3387B7DDA2A}"/>
              </a:ext>
            </a:extLst>
          </p:cNvPr>
          <p:cNvSpPr txBox="1"/>
          <p:nvPr/>
        </p:nvSpPr>
        <p:spPr>
          <a:xfrm>
            <a:off x="7834348" y="6178572"/>
            <a:ext cx="25370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0</a:t>
            </a:r>
            <a:endParaRPr lang="es-ES" sz="12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703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Imagen 36">
            <a:extLst>
              <a:ext uri="{FF2B5EF4-FFF2-40B4-BE49-F238E27FC236}">
                <a16:creationId xmlns:a16="http://schemas.microsoft.com/office/drawing/2014/main" id="{5CF9E698-285C-037C-D16A-AC5D7047E6E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174" t="1507" r="81130" b="1090"/>
          <a:stretch>
            <a:fillRect/>
          </a:stretch>
        </p:blipFill>
        <p:spPr>
          <a:xfrm>
            <a:off x="5688022" y="1834329"/>
            <a:ext cx="979792" cy="975844"/>
          </a:xfrm>
          <a:prstGeom prst="rect">
            <a:avLst/>
          </a:prstGeom>
        </p:spPr>
      </p:pic>
      <p:sp>
        <p:nvSpPr>
          <p:cNvPr id="8" name="Rectángulo 7">
            <a:extLst>
              <a:ext uri="{FF2B5EF4-FFF2-40B4-BE49-F238E27FC236}">
                <a16:creationId xmlns:a16="http://schemas.microsoft.com/office/drawing/2014/main" id="{08D67CC5-6191-4A6C-2678-71D3432CEE9F}"/>
              </a:ext>
            </a:extLst>
          </p:cNvPr>
          <p:cNvSpPr/>
          <p:nvPr/>
        </p:nvSpPr>
        <p:spPr>
          <a:xfrm>
            <a:off x="0" y="5334000"/>
            <a:ext cx="2139950" cy="1523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FDBE2AE2-7820-5074-E312-83ECEB3AEE59}"/>
              </a:ext>
            </a:extLst>
          </p:cNvPr>
          <p:cNvSpPr txBox="1"/>
          <p:nvPr/>
        </p:nvSpPr>
        <p:spPr>
          <a:xfrm>
            <a:off x="452742" y="938301"/>
            <a:ext cx="390525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¿Sabes que la marca, cuida de ti </a:t>
            </a:r>
            <a:r>
              <a:rPr kumimoji="0" lang="es-ES_tradnl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 de tus pacientes?</a:t>
            </a:r>
            <a:endParaRPr kumimoji="0" lang="es-E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0912561E-DB8C-2D72-773C-A1687F716A88}"/>
              </a:ext>
            </a:extLst>
          </p:cNvPr>
          <p:cNvSpPr txBox="1"/>
          <p:nvPr/>
        </p:nvSpPr>
        <p:spPr>
          <a:xfrm>
            <a:off x="452742" y="1867465"/>
            <a:ext cx="4525658" cy="2680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dispensación por MARCA aporta las siguientes ventajas significativas</a:t>
            </a:r>
            <a:r>
              <a:rPr kumimoji="0" lang="es-ES_tradnl" sz="1400" b="0" i="0" u="none" strike="noStrike" kern="1200" cap="none" spc="0" normalizeH="0" baseline="3000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1400" b="0" i="0" u="none" strike="noStrike" kern="1200" cap="none" spc="0" normalizeH="0" baseline="0" noProof="0" dirty="0">
              <a:ln>
                <a:noFill/>
              </a:ln>
              <a:solidFill>
                <a:srgbClr val="6F6F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 un estudio retrospectivo realizado en España con más de 13.000 pacientes durante 5 años en el que se analizó la persistencia y adherencia al tratamiento con estatinas de marca vs. estatinas genéricas, se observó que </a:t>
            </a:r>
            <a:r>
              <a:rPr kumimoji="0" lang="es-ES_tradnl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prescripción por marca fue más eficaz en el control de los factores de riesgo cardiovascular y consiguió mayor reducción del riesgo de episodios cardiovasculares y de muerte por cualquier causa</a:t>
            </a:r>
            <a:r>
              <a:rPr kumimoji="0" lang="es-ES_tradnl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s-ES_tradnl" sz="14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srgbClr val="6F6F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1D086724-C935-2F37-7A73-E0085A7A52CC}"/>
              </a:ext>
            </a:extLst>
          </p:cNvPr>
          <p:cNvSpPr txBox="1"/>
          <p:nvPr/>
        </p:nvSpPr>
        <p:spPr>
          <a:xfrm>
            <a:off x="508000" y="4659094"/>
            <a:ext cx="10966450" cy="64698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137160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 medicamento de marca </a:t>
            </a: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cilita el reconocimiento por parte del paciente y permite </a:t>
            </a:r>
            <a:b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ablecer una vinculación continuada con el medicamento</a:t>
            </a:r>
            <a:r>
              <a:rPr kumimoji="0" lang="es-ES_tradnl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792EB41D-B4B1-0CAE-0CF0-B4793BE84EFA}"/>
              </a:ext>
            </a:extLst>
          </p:cNvPr>
          <p:cNvSpPr txBox="1"/>
          <p:nvPr/>
        </p:nvSpPr>
        <p:spPr>
          <a:xfrm>
            <a:off x="508000" y="5431521"/>
            <a:ext cx="10966450" cy="646986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continuidad del tratamiento mediante el </a:t>
            </a:r>
            <a:b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icamento de marca es lo más aconsejable para mantener adecuadamente la medicación pautada</a:t>
            </a:r>
            <a:r>
              <a:rPr kumimoji="0" lang="es-ES_tradnl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endParaRPr kumimoji="0" lang="es-ES" sz="1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2" descr="Ocupació | ALMIRALL">
            <a:extLst>
              <a:ext uri="{FF2B5EF4-FFF2-40B4-BE49-F238E27FC236}">
                <a16:creationId xmlns:a16="http://schemas.microsoft.com/office/drawing/2014/main" id="{D76704C1-F6FD-D600-526A-4225FD38835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116665" y="4549403"/>
            <a:ext cx="1091254" cy="1654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Ocupació | ALMIRALL">
            <a:extLst>
              <a:ext uri="{FF2B5EF4-FFF2-40B4-BE49-F238E27FC236}">
                <a16:creationId xmlns:a16="http://schemas.microsoft.com/office/drawing/2014/main" id="{ED12C46C-69D8-D6F9-558A-B10D07290B9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4368800" y="811492"/>
            <a:ext cx="609600" cy="924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Ocupació | ALMIRALL">
            <a:extLst>
              <a:ext uri="{FF2B5EF4-FFF2-40B4-BE49-F238E27FC236}">
                <a16:creationId xmlns:a16="http://schemas.microsoft.com/office/drawing/2014/main" id="{2DC24C59-5009-113C-5C9F-C3C5834DD3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10980096" y="81214"/>
            <a:ext cx="1091254" cy="1654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75AACDC3-FF10-4FFE-2203-DD9467F7933F}"/>
              </a:ext>
            </a:extLst>
          </p:cNvPr>
          <p:cNvSpPr txBox="1"/>
          <p:nvPr/>
        </p:nvSpPr>
        <p:spPr>
          <a:xfrm>
            <a:off x="508000" y="6203949"/>
            <a:ext cx="10401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rmaindustria.es El valor de la marca [citado el 17 de diciembre de 2025]. Disponible en: https://www.farmaindustria.es/web/wp-content/uploads/sites/2/2019/12/Decalogo-El-valor-de-la-marca_Farmaindustria_2024_ok.pdf </a:t>
            </a:r>
            <a:r>
              <a:rPr kumimoji="0" lang="es-ES_tradnl" sz="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cras-Mainar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, Sánchez-Álvarez L, Navarro-Artieda R,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rbà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J.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eatment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sistence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herence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ir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equence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tient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come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eric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versus Brand-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me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n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utinely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d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eat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lesterol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vel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 Spain: a retrospective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tconsequence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álisis.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pid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lth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is.2018;17(1):277.</a:t>
            </a:r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5" name="Grupo 34">
            <a:extLst>
              <a:ext uri="{FF2B5EF4-FFF2-40B4-BE49-F238E27FC236}">
                <a16:creationId xmlns:a16="http://schemas.microsoft.com/office/drawing/2014/main" id="{E548041B-97BA-B296-BCE8-9EF5F14BE084}"/>
              </a:ext>
            </a:extLst>
          </p:cNvPr>
          <p:cNvGrpSpPr/>
          <p:nvPr/>
        </p:nvGrpSpPr>
        <p:grpSpPr>
          <a:xfrm>
            <a:off x="5340090" y="938301"/>
            <a:ext cx="6208972" cy="3521944"/>
            <a:chOff x="5340090" y="938301"/>
            <a:chExt cx="6208972" cy="3521944"/>
          </a:xfrm>
        </p:grpSpPr>
        <p:sp>
          <p:nvSpPr>
            <p:cNvPr id="10" name="Rectángulo: esquinas redondeadas 9">
              <a:extLst>
                <a:ext uri="{FF2B5EF4-FFF2-40B4-BE49-F238E27FC236}">
                  <a16:creationId xmlns:a16="http://schemas.microsoft.com/office/drawing/2014/main" id="{287E2F6C-7222-48EB-A0D5-74154FB26546}"/>
                </a:ext>
              </a:extLst>
            </p:cNvPr>
            <p:cNvSpPr/>
            <p:nvPr/>
          </p:nvSpPr>
          <p:spPr>
            <a:xfrm>
              <a:off x="5429250" y="938301"/>
              <a:ext cx="6045200" cy="352194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" name="CuadroTexto 4">
              <a:extLst>
                <a:ext uri="{FF2B5EF4-FFF2-40B4-BE49-F238E27FC236}">
                  <a16:creationId xmlns:a16="http://schemas.microsoft.com/office/drawing/2014/main" id="{BDF2AAC3-9094-9FA7-FA64-848CB8682282}"/>
                </a:ext>
              </a:extLst>
            </p:cNvPr>
            <p:cNvSpPr txBox="1"/>
            <p:nvPr/>
          </p:nvSpPr>
          <p:spPr>
            <a:xfrm>
              <a:off x="6223000" y="1136640"/>
              <a:ext cx="4603750" cy="658297"/>
            </a:xfrm>
            <a:prstGeom prst="roundRect">
              <a:avLst>
                <a:gd name="adj" fmla="val 19611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 comparación con la marca, </a:t>
              </a:r>
              <a: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s pacientes con una estatina genérica </a:t>
              </a: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sentaron</a:t>
              </a:r>
              <a:r>
                <a:rPr kumimoji="0" lang="es-ES_tradnl" sz="16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:</a:t>
              </a:r>
              <a:endPara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118E3CD5-99C6-02F8-8FF1-6598198968BE}"/>
                </a:ext>
              </a:extLst>
            </p:cNvPr>
            <p:cNvSpPr txBox="1"/>
            <p:nvPr/>
          </p:nvSpPr>
          <p:spPr>
            <a:xfrm>
              <a:off x="5479266" y="2729388"/>
              <a:ext cx="144462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14%</a:t>
              </a:r>
              <a:endPara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sp>
          <p:nvSpPr>
            <p:cNvPr id="17" name="CuadroTexto 16">
              <a:extLst>
                <a:ext uri="{FF2B5EF4-FFF2-40B4-BE49-F238E27FC236}">
                  <a16:creationId xmlns:a16="http://schemas.microsoft.com/office/drawing/2014/main" id="{14CE0934-B379-030C-542C-5F80B3F54E64}"/>
                </a:ext>
              </a:extLst>
            </p:cNvPr>
            <p:cNvSpPr txBox="1"/>
            <p:nvPr/>
          </p:nvSpPr>
          <p:spPr>
            <a:xfrm>
              <a:off x="6934145" y="2732289"/>
              <a:ext cx="144462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13%</a:t>
              </a:r>
              <a:endPara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sp>
          <p:nvSpPr>
            <p:cNvPr id="18" name="CuadroTexto 17">
              <a:extLst>
                <a:ext uri="{FF2B5EF4-FFF2-40B4-BE49-F238E27FC236}">
                  <a16:creationId xmlns:a16="http://schemas.microsoft.com/office/drawing/2014/main" id="{1B242AA6-D441-937F-4B80-A392440AB659}"/>
                </a:ext>
              </a:extLst>
            </p:cNvPr>
            <p:cNvSpPr txBox="1"/>
            <p:nvPr/>
          </p:nvSpPr>
          <p:spPr>
            <a:xfrm>
              <a:off x="8542019" y="2746046"/>
              <a:ext cx="144462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31%</a:t>
              </a:r>
              <a:endPara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sp>
          <p:nvSpPr>
            <p:cNvPr id="19" name="CuadroTexto 18">
              <a:extLst>
                <a:ext uri="{FF2B5EF4-FFF2-40B4-BE49-F238E27FC236}">
                  <a16:creationId xmlns:a16="http://schemas.microsoft.com/office/drawing/2014/main" id="{707339CE-96C6-E86D-075D-DFDAFEEC664C}"/>
                </a:ext>
              </a:extLst>
            </p:cNvPr>
            <p:cNvSpPr txBox="1"/>
            <p:nvPr/>
          </p:nvSpPr>
          <p:spPr>
            <a:xfrm>
              <a:off x="10104437" y="2734643"/>
              <a:ext cx="144462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36%</a:t>
              </a:r>
              <a:endPara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sp>
          <p:nvSpPr>
            <p:cNvPr id="20" name="CuadroTexto 19">
              <a:extLst>
                <a:ext uri="{FF2B5EF4-FFF2-40B4-BE49-F238E27FC236}">
                  <a16:creationId xmlns:a16="http://schemas.microsoft.com/office/drawing/2014/main" id="{D3317286-3E47-E644-C495-5D5CDAE5155F}"/>
                </a:ext>
              </a:extLst>
            </p:cNvPr>
            <p:cNvSpPr txBox="1"/>
            <p:nvPr/>
          </p:nvSpPr>
          <p:spPr>
            <a:xfrm>
              <a:off x="5456593" y="3076857"/>
              <a:ext cx="14446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enos</a:t>
              </a:r>
              <a:endPara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CuadroTexto 20">
              <a:extLst>
                <a:ext uri="{FF2B5EF4-FFF2-40B4-BE49-F238E27FC236}">
                  <a16:creationId xmlns:a16="http://schemas.microsoft.com/office/drawing/2014/main" id="{DEE43B66-6D5B-FBB9-FCAB-B9CA7E4C43EE}"/>
                </a:ext>
              </a:extLst>
            </p:cNvPr>
            <p:cNvSpPr txBox="1"/>
            <p:nvPr/>
          </p:nvSpPr>
          <p:spPr>
            <a:xfrm>
              <a:off x="6917599" y="3076198"/>
              <a:ext cx="14446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enos</a:t>
              </a:r>
              <a:endPara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CuadroTexto 21">
              <a:extLst>
                <a:ext uri="{FF2B5EF4-FFF2-40B4-BE49-F238E27FC236}">
                  <a16:creationId xmlns:a16="http://schemas.microsoft.com/office/drawing/2014/main" id="{2FBF5007-6E12-E027-4C0E-811A85F0B431}"/>
                </a:ext>
              </a:extLst>
            </p:cNvPr>
            <p:cNvSpPr txBox="1"/>
            <p:nvPr/>
          </p:nvSpPr>
          <p:spPr>
            <a:xfrm>
              <a:off x="8470624" y="3114108"/>
              <a:ext cx="14446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ás</a:t>
              </a:r>
              <a:endPara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CuadroTexto 22">
              <a:extLst>
                <a:ext uri="{FF2B5EF4-FFF2-40B4-BE49-F238E27FC236}">
                  <a16:creationId xmlns:a16="http://schemas.microsoft.com/office/drawing/2014/main" id="{7349C465-B835-DDF7-1C72-50866A4C09F9}"/>
                </a:ext>
              </a:extLst>
            </p:cNvPr>
            <p:cNvSpPr txBox="1"/>
            <p:nvPr/>
          </p:nvSpPr>
          <p:spPr>
            <a:xfrm>
              <a:off x="10008234" y="3118049"/>
              <a:ext cx="14446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ás</a:t>
              </a:r>
              <a:endPara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CuadroTexto 23">
              <a:extLst>
                <a:ext uri="{FF2B5EF4-FFF2-40B4-BE49-F238E27FC236}">
                  <a16:creationId xmlns:a16="http://schemas.microsoft.com/office/drawing/2014/main" id="{9810A210-6AE6-6C3B-0402-D19B0142C1BE}"/>
                </a:ext>
              </a:extLst>
            </p:cNvPr>
            <p:cNvSpPr txBox="1"/>
            <p:nvPr/>
          </p:nvSpPr>
          <p:spPr>
            <a:xfrm>
              <a:off x="5340090" y="3479394"/>
              <a:ext cx="167565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probabilidades de mantener el tratamiento</a:t>
              </a:r>
              <a:endPara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CuadroTexto 24">
              <a:extLst>
                <a:ext uri="{FF2B5EF4-FFF2-40B4-BE49-F238E27FC236}">
                  <a16:creationId xmlns:a16="http://schemas.microsoft.com/office/drawing/2014/main" id="{EF5321FD-3817-E32B-76AE-5DEAD3ADB004}"/>
                </a:ext>
              </a:extLst>
            </p:cNvPr>
            <p:cNvSpPr txBox="1"/>
            <p:nvPr/>
          </p:nvSpPr>
          <p:spPr>
            <a:xfrm>
              <a:off x="6879338" y="3480053"/>
              <a:ext cx="155423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probabilidades de alcanzar los objetivos c-LDL</a:t>
              </a:r>
              <a:endPara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CuadroTexto 25">
              <a:extLst>
                <a:ext uri="{FF2B5EF4-FFF2-40B4-BE49-F238E27FC236}">
                  <a16:creationId xmlns:a16="http://schemas.microsoft.com/office/drawing/2014/main" id="{34EE5EAD-4581-958F-74ED-611C5FDB8EAA}"/>
                </a:ext>
              </a:extLst>
            </p:cNvPr>
            <p:cNvSpPr txBox="1"/>
            <p:nvPr/>
          </p:nvSpPr>
          <p:spPr>
            <a:xfrm>
              <a:off x="8383814" y="3476308"/>
              <a:ext cx="163405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probabilidades de sufrir episodios cardiovasculares</a:t>
              </a:r>
              <a:endPara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12BA62F1-64F6-0E2C-BDCE-4E5AB7C93888}"/>
                </a:ext>
              </a:extLst>
            </p:cNvPr>
            <p:cNvSpPr txBox="1"/>
            <p:nvPr/>
          </p:nvSpPr>
          <p:spPr>
            <a:xfrm>
              <a:off x="9876092" y="3478662"/>
              <a:ext cx="163405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probabilidades de morir por cualquier causa</a:t>
              </a:r>
              <a:endPara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30" name="Imagen 29" descr="Icono&#10;&#10;El contenido generado por IA puede ser incorrecto.">
            <a:extLst>
              <a:ext uri="{FF2B5EF4-FFF2-40B4-BE49-F238E27FC236}">
                <a16:creationId xmlns:a16="http://schemas.microsoft.com/office/drawing/2014/main" id="{F4351877-78D0-07A4-4CCE-834CE0769839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7919" y="4709773"/>
            <a:ext cx="545627" cy="545627"/>
          </a:xfrm>
          <a:prstGeom prst="rect">
            <a:avLst/>
          </a:prstGeom>
        </p:spPr>
      </p:pic>
      <p:grpSp>
        <p:nvGrpSpPr>
          <p:cNvPr id="32" name="Grupo 31">
            <a:extLst>
              <a:ext uri="{FF2B5EF4-FFF2-40B4-BE49-F238E27FC236}">
                <a16:creationId xmlns:a16="http://schemas.microsoft.com/office/drawing/2014/main" id="{6405FEF0-A8F4-E8C3-8894-099125ABCCE5}"/>
              </a:ext>
            </a:extLst>
          </p:cNvPr>
          <p:cNvGrpSpPr/>
          <p:nvPr/>
        </p:nvGrpSpPr>
        <p:grpSpPr>
          <a:xfrm>
            <a:off x="0" y="1"/>
            <a:ext cx="3435350" cy="654050"/>
            <a:chOff x="1207919" y="3436464"/>
            <a:chExt cx="3435350" cy="654050"/>
          </a:xfrm>
        </p:grpSpPr>
        <p:sp>
          <p:nvSpPr>
            <p:cNvPr id="33" name="Rectángulo: una sola esquina redondeada 32">
              <a:extLst>
                <a:ext uri="{FF2B5EF4-FFF2-40B4-BE49-F238E27FC236}">
                  <a16:creationId xmlns:a16="http://schemas.microsoft.com/office/drawing/2014/main" id="{51A9D1BB-B735-0EBB-7951-A651878CF9ED}"/>
                </a:ext>
              </a:extLst>
            </p:cNvPr>
            <p:cNvSpPr/>
            <p:nvPr/>
          </p:nvSpPr>
          <p:spPr>
            <a:xfrm rot="10800000" flipH="1">
              <a:off x="1207919" y="3436464"/>
              <a:ext cx="3435350" cy="654050"/>
            </a:xfrm>
            <a:prstGeom prst="round1Rect">
              <a:avLst>
                <a:gd name="adj" fmla="val 50000"/>
              </a:avLst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l" defTabSz="1219139" rtl="0" eaLnBrk="1" fontAlgn="auto" latinLnBrk="0" hangingPunct="1">
                <a:lnSpc>
                  <a:spcPct val="9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933" b="1" i="0" u="none" strike="noStrike" kern="1200" cap="none" spc="0" normalizeH="0" baseline="0" noProof="0" dirty="0">
                <a:ln>
                  <a:noFill/>
                </a:ln>
                <a:solidFill>
                  <a:srgbClr val="00F0B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4" name="CuadroTexto 33">
              <a:extLst>
                <a:ext uri="{FF2B5EF4-FFF2-40B4-BE49-F238E27FC236}">
                  <a16:creationId xmlns:a16="http://schemas.microsoft.com/office/drawing/2014/main" id="{27F14601-0A2F-00F0-8136-BF6E3763CEDB}"/>
                </a:ext>
              </a:extLst>
            </p:cNvPr>
            <p:cNvSpPr txBox="1"/>
            <p:nvPr/>
          </p:nvSpPr>
          <p:spPr>
            <a:xfrm>
              <a:off x="1293813" y="3510354"/>
              <a:ext cx="2998787" cy="4985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1219139" rtl="0" eaLnBrk="1" fontAlgn="auto" latinLnBrk="0" hangingPunct="1">
                <a:lnSpc>
                  <a:spcPct val="9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933" b="1" i="0" u="none" strike="noStrike" kern="1200" cap="none" spc="0" normalizeH="0" baseline="0" noProof="0" dirty="0">
                  <a:ln>
                    <a:noFill/>
                  </a:ln>
                  <a:solidFill>
                    <a:srgbClr val="00F0B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Valor de marca</a:t>
              </a:r>
            </a:p>
          </p:txBody>
        </p:sp>
      </p:grpSp>
      <p:pic>
        <p:nvPicPr>
          <p:cNvPr id="38" name="Imagen 37">
            <a:extLst>
              <a:ext uri="{FF2B5EF4-FFF2-40B4-BE49-F238E27FC236}">
                <a16:creationId xmlns:a16="http://schemas.microsoft.com/office/drawing/2014/main" id="{0294770A-8725-E5BE-A13F-113E4632E85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6611" r="27254"/>
          <a:stretch>
            <a:fillRect/>
          </a:stretch>
        </p:blipFill>
        <p:spPr>
          <a:xfrm>
            <a:off x="8776701" y="1922902"/>
            <a:ext cx="891353" cy="886612"/>
          </a:xfrm>
          <a:prstGeom prst="rect">
            <a:avLst/>
          </a:prstGeom>
        </p:spPr>
      </p:pic>
      <p:pic>
        <p:nvPicPr>
          <p:cNvPr id="39" name="Imagen 38">
            <a:extLst>
              <a:ext uri="{FF2B5EF4-FFF2-40B4-BE49-F238E27FC236}">
                <a16:creationId xmlns:a16="http://schemas.microsoft.com/office/drawing/2014/main" id="{47CF7EF3-E5A7-C752-729B-E6C9E7287D4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8747" t="-1455" r="50585" b="1455"/>
          <a:stretch>
            <a:fillRect/>
          </a:stretch>
        </p:blipFill>
        <p:spPr>
          <a:xfrm>
            <a:off x="7132647" y="1922902"/>
            <a:ext cx="1141817" cy="886612"/>
          </a:xfrm>
          <a:prstGeom prst="rect">
            <a:avLst/>
          </a:prstGeom>
        </p:spPr>
      </p:pic>
      <p:pic>
        <p:nvPicPr>
          <p:cNvPr id="40" name="Imagen 39">
            <a:extLst>
              <a:ext uri="{FF2B5EF4-FFF2-40B4-BE49-F238E27FC236}">
                <a16:creationId xmlns:a16="http://schemas.microsoft.com/office/drawing/2014/main" id="{A0977CD4-8A18-6E70-2432-352CB6A6D75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83865"/>
          <a:stretch>
            <a:fillRect/>
          </a:stretch>
        </p:blipFill>
        <p:spPr>
          <a:xfrm>
            <a:off x="10405836" y="1919458"/>
            <a:ext cx="879037" cy="874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72987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0C5695-E0EC-0206-32A2-64DC555D81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Grupo 46">
            <a:extLst>
              <a:ext uri="{FF2B5EF4-FFF2-40B4-BE49-F238E27FC236}">
                <a16:creationId xmlns:a16="http://schemas.microsoft.com/office/drawing/2014/main" id="{3D73C5C7-AC1C-8545-AA2D-3C1336AA3433}"/>
              </a:ext>
            </a:extLst>
          </p:cNvPr>
          <p:cNvGrpSpPr/>
          <p:nvPr/>
        </p:nvGrpSpPr>
        <p:grpSpPr>
          <a:xfrm>
            <a:off x="409315" y="1638118"/>
            <a:ext cx="5178686" cy="2906398"/>
            <a:chOff x="6520762" y="2032462"/>
            <a:chExt cx="4220523" cy="1563556"/>
          </a:xfrm>
        </p:grpSpPr>
        <p:sp>
          <p:nvSpPr>
            <p:cNvPr id="48" name="Rectángulo: esquinas redondeadas 47">
              <a:extLst>
                <a:ext uri="{FF2B5EF4-FFF2-40B4-BE49-F238E27FC236}">
                  <a16:creationId xmlns:a16="http://schemas.microsoft.com/office/drawing/2014/main" id="{C5DE66C4-5D60-291C-3A71-0D3E479F2BFE}"/>
                </a:ext>
              </a:extLst>
            </p:cNvPr>
            <p:cNvSpPr/>
            <p:nvPr/>
          </p:nvSpPr>
          <p:spPr>
            <a:xfrm>
              <a:off x="6520762" y="2032462"/>
              <a:ext cx="4220523" cy="156355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CuadroTexto 49">
              <a:extLst>
                <a:ext uri="{FF2B5EF4-FFF2-40B4-BE49-F238E27FC236}">
                  <a16:creationId xmlns:a16="http://schemas.microsoft.com/office/drawing/2014/main" id="{7553D5A2-7149-FF18-A866-775309D309D2}"/>
                </a:ext>
              </a:extLst>
            </p:cNvPr>
            <p:cNvSpPr txBox="1"/>
            <p:nvPr/>
          </p:nvSpPr>
          <p:spPr>
            <a:xfrm>
              <a:off x="6601188" y="2085300"/>
              <a:ext cx="3854380" cy="3078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atamiento de la hipercolesterolemia </a:t>
              </a:r>
              <a:b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s-ES_tradn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sola o en combinación con </a:t>
              </a:r>
              <a:r>
                <a:rPr kumimoji="0" lang="es-ES_tradnl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zetimiba</a:t>
              </a:r>
              <a:r>
                <a:rPr kumimoji="0" lang="es-ES_tradn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)</a:t>
              </a: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CuadroTexto 48">
              <a:extLst>
                <a:ext uri="{FF2B5EF4-FFF2-40B4-BE49-F238E27FC236}">
                  <a16:creationId xmlns:a16="http://schemas.microsoft.com/office/drawing/2014/main" id="{621D5BE5-3F24-FE58-33EF-A788BF68EF16}"/>
                </a:ext>
              </a:extLst>
            </p:cNvPr>
            <p:cNvSpPr txBox="1"/>
            <p:nvPr/>
          </p:nvSpPr>
          <p:spPr>
            <a:xfrm>
              <a:off x="6601189" y="2397032"/>
              <a:ext cx="1505959" cy="932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studios que evalúan la potencia y/o efecto de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osu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vs otros comparadores en la </a:t>
              </a:r>
              <a:r>
                <a:rPr kumimoji="0" lang="es-ES_tradn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sminución de lipoproteínas, niveles de c-LDL…</a:t>
              </a:r>
              <a:endPara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3" name="Grupo 42">
            <a:extLst>
              <a:ext uri="{FF2B5EF4-FFF2-40B4-BE49-F238E27FC236}">
                <a16:creationId xmlns:a16="http://schemas.microsoft.com/office/drawing/2014/main" id="{56B23E9F-AED6-0540-3B3F-7C24FF83796B}"/>
              </a:ext>
            </a:extLst>
          </p:cNvPr>
          <p:cNvGrpSpPr/>
          <p:nvPr/>
        </p:nvGrpSpPr>
        <p:grpSpPr>
          <a:xfrm>
            <a:off x="7363536" y="4384222"/>
            <a:ext cx="4507931" cy="1476038"/>
            <a:chOff x="6604000" y="2035178"/>
            <a:chExt cx="4507931" cy="1563556"/>
          </a:xfrm>
        </p:grpSpPr>
        <p:sp>
          <p:nvSpPr>
            <p:cNvPr id="44" name="Rectángulo: esquinas redondeadas 43">
              <a:extLst>
                <a:ext uri="{FF2B5EF4-FFF2-40B4-BE49-F238E27FC236}">
                  <a16:creationId xmlns:a16="http://schemas.microsoft.com/office/drawing/2014/main" id="{E570DE9D-E96C-6B4F-DA3C-94E27BAB53B6}"/>
                </a:ext>
              </a:extLst>
            </p:cNvPr>
            <p:cNvSpPr/>
            <p:nvPr/>
          </p:nvSpPr>
          <p:spPr>
            <a:xfrm>
              <a:off x="6604000" y="2035178"/>
              <a:ext cx="4220523" cy="156355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CuadroTexto 44">
              <a:extLst>
                <a:ext uri="{FF2B5EF4-FFF2-40B4-BE49-F238E27FC236}">
                  <a16:creationId xmlns:a16="http://schemas.microsoft.com/office/drawing/2014/main" id="{60234A6E-A9F2-0AB0-1427-E3299796A34B}"/>
                </a:ext>
              </a:extLst>
            </p:cNvPr>
            <p:cNvSpPr txBox="1"/>
            <p:nvPr/>
          </p:nvSpPr>
          <p:spPr>
            <a:xfrm>
              <a:off x="7752785" y="2688614"/>
              <a:ext cx="3157838" cy="8314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studios que evalúan el efecto de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osu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vs placebo en eventos clínicos CV,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orbi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-mortalidad,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tc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…</a:t>
              </a:r>
              <a:endPara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CuadroTexto 45">
              <a:extLst>
                <a:ext uri="{FF2B5EF4-FFF2-40B4-BE49-F238E27FC236}">
                  <a16:creationId xmlns:a16="http://schemas.microsoft.com/office/drawing/2014/main" id="{32D33AA3-FB2F-3373-D922-2D3AC7A08063}"/>
                </a:ext>
              </a:extLst>
            </p:cNvPr>
            <p:cNvSpPr txBox="1"/>
            <p:nvPr/>
          </p:nvSpPr>
          <p:spPr>
            <a:xfrm>
              <a:off x="7954093" y="2103839"/>
              <a:ext cx="3157838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orbi</a:t>
              </a:r>
              <a: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-mortalidad cardiovascular</a:t>
              </a: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2" name="Grupo 41">
            <a:extLst>
              <a:ext uri="{FF2B5EF4-FFF2-40B4-BE49-F238E27FC236}">
                <a16:creationId xmlns:a16="http://schemas.microsoft.com/office/drawing/2014/main" id="{8920975B-AF84-E3EE-6066-254DE0AF06BE}"/>
              </a:ext>
            </a:extLst>
          </p:cNvPr>
          <p:cNvGrpSpPr/>
          <p:nvPr/>
        </p:nvGrpSpPr>
        <p:grpSpPr>
          <a:xfrm>
            <a:off x="7170434" y="1910177"/>
            <a:ext cx="4513565" cy="1636300"/>
            <a:chOff x="6604000" y="2035178"/>
            <a:chExt cx="4513565" cy="1636300"/>
          </a:xfrm>
        </p:grpSpPr>
        <p:sp>
          <p:nvSpPr>
            <p:cNvPr id="38" name="Rectángulo: esquinas redondeadas 37">
              <a:extLst>
                <a:ext uri="{FF2B5EF4-FFF2-40B4-BE49-F238E27FC236}">
                  <a16:creationId xmlns:a16="http://schemas.microsoft.com/office/drawing/2014/main" id="{0F7B9AC0-78D8-CC3A-D7FC-5C7BF09AEC56}"/>
                </a:ext>
              </a:extLst>
            </p:cNvPr>
            <p:cNvSpPr/>
            <p:nvPr/>
          </p:nvSpPr>
          <p:spPr>
            <a:xfrm>
              <a:off x="6604000" y="2035178"/>
              <a:ext cx="4376096" cy="1636300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CuadroTexto 39">
              <a:extLst>
                <a:ext uri="{FF2B5EF4-FFF2-40B4-BE49-F238E27FC236}">
                  <a16:creationId xmlns:a16="http://schemas.microsoft.com/office/drawing/2014/main" id="{B76D0E3B-7DF0-7B1C-6BA8-8AAB35187031}"/>
                </a:ext>
              </a:extLst>
            </p:cNvPr>
            <p:cNvSpPr txBox="1"/>
            <p:nvPr/>
          </p:nvSpPr>
          <p:spPr>
            <a:xfrm>
              <a:off x="7908358" y="2511054"/>
              <a:ext cx="2931092" cy="10218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studios que evalúan el efecto de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osu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vs otros comparadores solo o en combinación en disminución de placa de ateroma</a:t>
              </a:r>
              <a:endPara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CuadroTexto 40">
              <a:extLst>
                <a:ext uri="{FF2B5EF4-FFF2-40B4-BE49-F238E27FC236}">
                  <a16:creationId xmlns:a16="http://schemas.microsoft.com/office/drawing/2014/main" id="{922DB974-1C2C-BE58-4712-5A7A2B76D416}"/>
                </a:ext>
              </a:extLst>
            </p:cNvPr>
            <p:cNvSpPr txBox="1"/>
            <p:nvPr/>
          </p:nvSpPr>
          <p:spPr>
            <a:xfrm>
              <a:off x="6759573" y="2103839"/>
              <a:ext cx="435799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atamiento de la aterosclerosis</a:t>
              </a: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8" name="Rectángulo 7">
            <a:extLst>
              <a:ext uri="{FF2B5EF4-FFF2-40B4-BE49-F238E27FC236}">
                <a16:creationId xmlns:a16="http://schemas.microsoft.com/office/drawing/2014/main" id="{3B3FCDB2-23A1-E625-774C-AA920BAC373F}"/>
              </a:ext>
            </a:extLst>
          </p:cNvPr>
          <p:cNvSpPr/>
          <p:nvPr/>
        </p:nvSpPr>
        <p:spPr>
          <a:xfrm>
            <a:off x="0" y="5334000"/>
            <a:ext cx="2139950" cy="1523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B5746A2F-65CC-FDFB-514F-B932C14550E7}"/>
              </a:ext>
            </a:extLst>
          </p:cNvPr>
          <p:cNvSpPr txBox="1"/>
          <p:nvPr/>
        </p:nvSpPr>
        <p:spPr>
          <a:xfrm>
            <a:off x="508000" y="816115"/>
            <a:ext cx="43579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verso de la evidencia con rosuvastatina: Programa GALAXY</a:t>
            </a:r>
            <a:endParaRPr kumimoji="0" lang="es-ES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F41546EB-C3A1-EB02-1BF7-A1F0CAC35AFB}"/>
              </a:ext>
            </a:extLst>
          </p:cNvPr>
          <p:cNvSpPr txBox="1"/>
          <p:nvPr/>
        </p:nvSpPr>
        <p:spPr>
          <a:xfrm>
            <a:off x="5837542" y="754285"/>
            <a:ext cx="5071758" cy="883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mplia evidencia en distintos contextos clínicos para disminuir los eventos cardiovasculares, el RCV, la hipercolesterolemia c-LDL y tratar la aterosclerosis.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2" descr="Ocupació | ALMIRALL">
            <a:extLst>
              <a:ext uri="{FF2B5EF4-FFF2-40B4-BE49-F238E27FC236}">
                <a16:creationId xmlns:a16="http://schemas.microsoft.com/office/drawing/2014/main" id="{85C25494-B44E-757E-29EB-6B5306C691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116665" y="4549403"/>
            <a:ext cx="1091254" cy="1654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Ocupació | ALMIRALL">
            <a:extLst>
              <a:ext uri="{FF2B5EF4-FFF2-40B4-BE49-F238E27FC236}">
                <a16:creationId xmlns:a16="http://schemas.microsoft.com/office/drawing/2014/main" id="{4E11ABCB-26FB-1368-6C80-1A0D52154B1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10980096" y="81214"/>
            <a:ext cx="1091254" cy="1654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86F4B722-753C-C6F8-43D7-066D27189FCA}"/>
              </a:ext>
            </a:extLst>
          </p:cNvPr>
          <p:cNvSpPr txBox="1"/>
          <p:nvPr/>
        </p:nvSpPr>
        <p:spPr>
          <a:xfrm>
            <a:off x="1069975" y="6208836"/>
            <a:ext cx="299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ros estudios con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stor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HOPE-3, SPACE-ROCKET… Expert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rdiovasc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r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007 Mar;5(2):177-93. doi:10.1586/14779072.5.2177.</a:t>
            </a:r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6" name="Picture 2">
            <a:extLst>
              <a:ext uri="{FF2B5EF4-FFF2-40B4-BE49-F238E27FC236}">
                <a16:creationId xmlns:a16="http://schemas.microsoft.com/office/drawing/2014/main" id="{F999CC66-D1FA-2748-C697-62A10D6FE9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0535" y="2195603"/>
            <a:ext cx="6924609" cy="3908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" name="Grupo 32">
            <a:extLst>
              <a:ext uri="{FF2B5EF4-FFF2-40B4-BE49-F238E27FC236}">
                <a16:creationId xmlns:a16="http://schemas.microsoft.com/office/drawing/2014/main" id="{FECADE8C-B2CD-E234-71ED-6C052D559418}"/>
              </a:ext>
            </a:extLst>
          </p:cNvPr>
          <p:cNvGrpSpPr/>
          <p:nvPr/>
        </p:nvGrpSpPr>
        <p:grpSpPr>
          <a:xfrm>
            <a:off x="0" y="1"/>
            <a:ext cx="3435350" cy="654050"/>
            <a:chOff x="1207919" y="3436464"/>
            <a:chExt cx="3435350" cy="654050"/>
          </a:xfrm>
        </p:grpSpPr>
        <p:sp>
          <p:nvSpPr>
            <p:cNvPr id="34" name="Rectángulo: una sola esquina redondeada 33">
              <a:extLst>
                <a:ext uri="{FF2B5EF4-FFF2-40B4-BE49-F238E27FC236}">
                  <a16:creationId xmlns:a16="http://schemas.microsoft.com/office/drawing/2014/main" id="{A47869D6-6865-F70D-DFAF-5455991764FE}"/>
                </a:ext>
              </a:extLst>
            </p:cNvPr>
            <p:cNvSpPr/>
            <p:nvPr/>
          </p:nvSpPr>
          <p:spPr>
            <a:xfrm rot="10800000" flipH="1">
              <a:off x="1207919" y="3436464"/>
              <a:ext cx="3435350" cy="654050"/>
            </a:xfrm>
            <a:prstGeom prst="round1Rect">
              <a:avLst>
                <a:gd name="adj" fmla="val 50000"/>
              </a:avLst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l" defTabSz="1219139" rtl="0" eaLnBrk="1" fontAlgn="auto" latinLnBrk="0" hangingPunct="1">
                <a:lnSpc>
                  <a:spcPct val="9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933" b="1" i="0" u="none" strike="noStrike" kern="1200" cap="none" spc="0" normalizeH="0" baseline="0" noProof="0" dirty="0">
                <a:ln>
                  <a:noFill/>
                </a:ln>
                <a:solidFill>
                  <a:srgbClr val="00F0B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5" name="CuadroTexto 34">
              <a:extLst>
                <a:ext uri="{FF2B5EF4-FFF2-40B4-BE49-F238E27FC236}">
                  <a16:creationId xmlns:a16="http://schemas.microsoft.com/office/drawing/2014/main" id="{D63F167E-B9FD-EF14-7D09-03CDE0BA0A9A}"/>
                </a:ext>
              </a:extLst>
            </p:cNvPr>
            <p:cNvSpPr txBox="1"/>
            <p:nvPr/>
          </p:nvSpPr>
          <p:spPr>
            <a:xfrm>
              <a:off x="1293813" y="3510354"/>
              <a:ext cx="2998787" cy="4985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1219139" rtl="0" eaLnBrk="1" fontAlgn="auto" latinLnBrk="0" hangingPunct="1">
                <a:lnSpc>
                  <a:spcPct val="9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933" b="1" i="0" u="none" strike="noStrike" kern="1200" cap="none" spc="0" normalizeH="0" baseline="0" noProof="0" dirty="0">
                  <a:ln>
                    <a:noFill/>
                  </a:ln>
                  <a:solidFill>
                    <a:srgbClr val="00F0B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Valor de marc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803582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B9DBC97-A19A-B553-0007-1CADB5D4C2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1832" y="217562"/>
            <a:ext cx="10346231" cy="880781"/>
          </a:xfrm>
        </p:spPr>
        <p:txBody>
          <a:bodyPr>
            <a:normAutofit/>
          </a:bodyPr>
          <a:lstStyle/>
          <a:p>
            <a:r>
              <a:rPr lang="es-ES_tradnl" sz="3600" dirty="0"/>
              <a:t>Agenda:</a:t>
            </a:r>
            <a:endParaRPr lang="es-ES" sz="3600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3678198-E123-CEE2-BC59-B2D0C1A1EB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04479" y="1746504"/>
            <a:ext cx="10346231" cy="4474708"/>
          </a:xfrm>
        </p:spPr>
        <p:txBody>
          <a:bodyPr>
            <a:normAutofit/>
          </a:bodyPr>
          <a:lstStyle/>
          <a:p>
            <a:pPr marL="514350" indent="-514350">
              <a:buAutoNum type="romanUcPeriod"/>
            </a:pPr>
            <a:r>
              <a:rPr lang="es-ES_tradnl" sz="2400" dirty="0"/>
              <a:t>Introducción:</a:t>
            </a:r>
          </a:p>
          <a:p>
            <a:pPr marL="1200133" lvl="1" indent="-514350"/>
            <a:r>
              <a:rPr lang="es-ES_tradnl" sz="2000" dirty="0">
                <a:solidFill>
                  <a:schemeClr val="accent1"/>
                </a:solidFill>
              </a:rPr>
              <a:t>Enfermedad cardiovascular y sus consecuencias </a:t>
            </a:r>
          </a:p>
          <a:p>
            <a:pPr marL="1200133" lvl="1" indent="-514350"/>
            <a:r>
              <a:rPr lang="es-ES_tradnl" sz="2000" dirty="0">
                <a:solidFill>
                  <a:schemeClr val="accent1"/>
                </a:solidFill>
              </a:rPr>
              <a:t>Clasificación de los factores de riesgo cardiovascular</a:t>
            </a:r>
          </a:p>
          <a:p>
            <a:pPr marL="514350" indent="-514350">
              <a:buAutoNum type="romanUcPeriod"/>
            </a:pPr>
            <a:r>
              <a:rPr lang="es-ES" sz="2400" dirty="0"/>
              <a:t>Factores de riesgo cardiovascular y su manejo en raza negra:</a:t>
            </a:r>
          </a:p>
          <a:p>
            <a:pPr marL="1200133" lvl="1" indent="-514350"/>
            <a:r>
              <a:rPr lang="es-ES" sz="2000" dirty="0">
                <a:solidFill>
                  <a:schemeClr val="accent1"/>
                </a:solidFill>
              </a:rPr>
              <a:t>Perfil lipídico</a:t>
            </a:r>
          </a:p>
          <a:p>
            <a:pPr marL="1200133" lvl="1" indent="-514350"/>
            <a:r>
              <a:rPr lang="es-ES" sz="2000" dirty="0">
                <a:solidFill>
                  <a:schemeClr val="accent1"/>
                </a:solidFill>
              </a:rPr>
              <a:t>Hipertensión arterial</a:t>
            </a:r>
          </a:p>
          <a:p>
            <a:pPr marL="1200133" lvl="1" indent="-514350"/>
            <a:r>
              <a:rPr lang="es-ES" sz="2000" dirty="0">
                <a:solidFill>
                  <a:schemeClr val="accent1"/>
                </a:solidFill>
              </a:rPr>
              <a:t>Diabetes Mellitus</a:t>
            </a:r>
          </a:p>
          <a:p>
            <a:pPr marL="514350" indent="-514350">
              <a:buAutoNum type="romanUcPeriod"/>
            </a:pPr>
            <a:r>
              <a:rPr lang="es-ES" sz="2400" dirty="0"/>
              <a:t>La inclusión de la raza en la estimación del riesgo cardiovascular</a:t>
            </a:r>
          </a:p>
          <a:p>
            <a:pPr marL="514350" indent="-514350">
              <a:buAutoNum type="romanUcPeriod"/>
            </a:pPr>
            <a:r>
              <a:rPr lang="es-ES_tradnl" sz="2400" dirty="0"/>
              <a:t>Resumen</a:t>
            </a:r>
            <a:endParaRPr lang="es-ES" sz="2400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5F2F03FC-3B90-B0DE-3945-B2717AC641EB}"/>
              </a:ext>
            </a:extLst>
          </p:cNvPr>
          <p:cNvSpPr txBox="1"/>
          <p:nvPr/>
        </p:nvSpPr>
        <p:spPr>
          <a:xfrm rot="16200000">
            <a:off x="10584462" y="3677419"/>
            <a:ext cx="25370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0</a:t>
            </a:r>
            <a:endParaRPr lang="es-ES" sz="12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4380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uadroTexto 2">
            <a:extLst>
              <a:ext uri="{FF2B5EF4-FFF2-40B4-BE49-F238E27FC236}">
                <a16:creationId xmlns:a16="http://schemas.microsoft.com/office/drawing/2014/main" id="{5C154DD2-5746-71F0-7A5C-70CF685AEE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9403" y="5059665"/>
            <a:ext cx="6450334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altLang="es-ES" dirty="0"/>
              <a:t>1</a:t>
            </a:r>
            <a:r>
              <a:rPr lang="es-ES" altLang="es-ES" b="0" dirty="0"/>
              <a:t>. Cardiovascular </a:t>
            </a:r>
            <a:r>
              <a:rPr lang="es-ES" altLang="es-ES" b="0" dirty="0" err="1"/>
              <a:t>Diseases</a:t>
            </a:r>
            <a:r>
              <a:rPr lang="es-ES" altLang="es-ES" b="0" dirty="0"/>
              <a:t> (</a:t>
            </a:r>
            <a:r>
              <a:rPr lang="es-ES" altLang="es-ES" b="0" dirty="0" err="1"/>
              <a:t>CVDs</a:t>
            </a:r>
            <a:r>
              <a:rPr lang="es-ES" altLang="es-ES" b="0" dirty="0"/>
              <a:t>). </a:t>
            </a:r>
            <a:r>
              <a:rPr lang="es-ES" altLang="es-ES" b="0" dirty="0" err="1"/>
              <a:t>Available</a:t>
            </a:r>
            <a:r>
              <a:rPr lang="es-ES" altLang="es-ES" b="0" dirty="0"/>
              <a:t> online: </a:t>
            </a:r>
            <a:r>
              <a:rPr lang="en-US" altLang="es-ES" b="0" dirty="0"/>
              <a:t>(https://www.who.int/es/newsroom/factsheets/detail/cardiovascular-diseases-(cvds)).</a:t>
            </a:r>
            <a:r>
              <a:rPr lang="es-ES" altLang="es-ES" dirty="0"/>
              <a:t> 2. </a:t>
            </a:r>
            <a:r>
              <a:rPr lang="es-ES" altLang="es-ES" b="0" dirty="0"/>
              <a:t>Cardiovascular </a:t>
            </a:r>
            <a:r>
              <a:rPr lang="es-ES" altLang="es-ES" b="0" dirty="0" err="1"/>
              <a:t>Diseases</a:t>
            </a:r>
            <a:r>
              <a:rPr lang="es-ES" altLang="es-ES" b="0" dirty="0"/>
              <a:t> (</a:t>
            </a:r>
            <a:r>
              <a:rPr lang="es-ES" altLang="es-ES" b="0" dirty="0" err="1"/>
              <a:t>CVDs</a:t>
            </a:r>
            <a:r>
              <a:rPr lang="es-ES" altLang="es-ES" b="0" dirty="0"/>
              <a:t>). </a:t>
            </a:r>
            <a:r>
              <a:rPr lang="es-ES" altLang="es-ES" b="0" dirty="0" err="1"/>
              <a:t>Available</a:t>
            </a:r>
            <a:r>
              <a:rPr lang="es-ES" altLang="es-ES" b="0" dirty="0"/>
              <a:t> online: (https://www.who.int/europe/news-room/fact-sheets/item/cardiovascular-diseases) </a:t>
            </a:r>
            <a:r>
              <a:rPr lang="en-US" altLang="es-ES" b="0" dirty="0"/>
              <a:t> </a:t>
            </a:r>
            <a:r>
              <a:rPr lang="en-US" altLang="es-ES" dirty="0"/>
              <a:t>3</a:t>
            </a:r>
            <a:r>
              <a:rPr lang="en-US" altLang="es-ES" b="0" dirty="0"/>
              <a:t>. </a:t>
            </a:r>
            <a:r>
              <a:rPr lang="es-ES" b="0" dirty="0" err="1"/>
              <a:t>Poznyak</a:t>
            </a:r>
            <a:r>
              <a:rPr lang="es-ES" b="0" dirty="0"/>
              <a:t> AV, et al. </a:t>
            </a:r>
            <a:r>
              <a:rPr lang="es-ES" b="0" dirty="0" err="1"/>
              <a:t>Hypertension</a:t>
            </a:r>
            <a:r>
              <a:rPr lang="es-ES" b="0" dirty="0"/>
              <a:t> as a </a:t>
            </a:r>
            <a:r>
              <a:rPr lang="es-ES" b="0" dirty="0" err="1"/>
              <a:t>risk</a:t>
            </a:r>
            <a:r>
              <a:rPr lang="es-ES" b="0" dirty="0"/>
              <a:t> factor </a:t>
            </a:r>
            <a:r>
              <a:rPr lang="es-ES" b="0" dirty="0" err="1"/>
              <a:t>for</a:t>
            </a:r>
            <a:r>
              <a:rPr lang="es-ES" b="0" dirty="0"/>
              <a:t> </a:t>
            </a:r>
            <a:r>
              <a:rPr lang="es-ES" b="0" dirty="0" err="1"/>
              <a:t>atherosclerosis</a:t>
            </a:r>
            <a:r>
              <a:rPr lang="es-ES" b="0" dirty="0"/>
              <a:t>: Cardiovascular </a:t>
            </a:r>
            <a:r>
              <a:rPr lang="es-ES" b="0" dirty="0" err="1"/>
              <a:t>risk</a:t>
            </a:r>
            <a:r>
              <a:rPr lang="es-ES" b="0" dirty="0"/>
              <a:t> </a:t>
            </a:r>
            <a:r>
              <a:rPr lang="es-ES" b="0" dirty="0" err="1"/>
              <a:t>assessment</a:t>
            </a:r>
            <a:r>
              <a:rPr lang="es-ES" b="0" dirty="0"/>
              <a:t>. Front </a:t>
            </a:r>
            <a:r>
              <a:rPr lang="es-ES" b="0" dirty="0" err="1"/>
              <a:t>Cardiovasc</a:t>
            </a:r>
            <a:r>
              <a:rPr lang="es-ES" b="0" dirty="0"/>
              <a:t> </a:t>
            </a:r>
            <a:r>
              <a:rPr lang="es-ES" b="0" dirty="0" err="1"/>
              <a:t>Med</a:t>
            </a:r>
            <a:r>
              <a:rPr lang="es-ES" b="0" dirty="0"/>
              <a:t>. 2022 </a:t>
            </a:r>
            <a:r>
              <a:rPr lang="es-ES" b="0" dirty="0" err="1"/>
              <a:t>Aug</a:t>
            </a:r>
            <a:r>
              <a:rPr lang="es-ES" b="0" dirty="0"/>
              <a:t> 22:9:959285. </a:t>
            </a:r>
            <a:r>
              <a:rPr lang="es-ES" b="0" dirty="0" err="1"/>
              <a:t>doi</a:t>
            </a:r>
            <a:r>
              <a:rPr lang="es-ES" b="0" dirty="0"/>
              <a:t>: 10.3389/fcvm.2022.959285. </a:t>
            </a:r>
            <a:r>
              <a:rPr lang="es-ES" b="0" dirty="0" err="1"/>
              <a:t>eCollection</a:t>
            </a:r>
            <a:r>
              <a:rPr lang="es-ES" b="0" dirty="0"/>
              <a:t> 2022.</a:t>
            </a:r>
            <a:r>
              <a:rPr lang="es-ES" dirty="0"/>
              <a:t> 4</a:t>
            </a:r>
            <a:r>
              <a:rPr lang="es-ES" b="0" dirty="0"/>
              <a:t>. </a:t>
            </a:r>
            <a:r>
              <a:rPr lang="es-ES" b="0" dirty="0" err="1"/>
              <a:t>Mazzolai</a:t>
            </a:r>
            <a:r>
              <a:rPr lang="es-ES" b="0" dirty="0"/>
              <a:t> L, et al. 2024 ESC </a:t>
            </a:r>
            <a:r>
              <a:rPr lang="es-ES" b="0" dirty="0" err="1"/>
              <a:t>Guidelines</a:t>
            </a:r>
            <a:r>
              <a:rPr lang="es-ES" b="0" dirty="0"/>
              <a:t> </a:t>
            </a:r>
            <a:r>
              <a:rPr lang="es-ES" b="0" dirty="0" err="1"/>
              <a:t>for</a:t>
            </a:r>
            <a:r>
              <a:rPr lang="es-ES" b="0" dirty="0"/>
              <a:t> </a:t>
            </a:r>
            <a:r>
              <a:rPr lang="es-ES" b="0" dirty="0" err="1"/>
              <a:t>the</a:t>
            </a:r>
            <a:r>
              <a:rPr lang="es-ES" b="0" dirty="0"/>
              <a:t> </a:t>
            </a:r>
            <a:r>
              <a:rPr lang="es-ES" b="0" dirty="0" err="1"/>
              <a:t>management</a:t>
            </a:r>
            <a:r>
              <a:rPr lang="es-ES" b="0" dirty="0"/>
              <a:t> </a:t>
            </a:r>
            <a:r>
              <a:rPr lang="es-ES" b="0" dirty="0" err="1"/>
              <a:t>of</a:t>
            </a:r>
            <a:r>
              <a:rPr lang="es-ES" b="0" dirty="0"/>
              <a:t> </a:t>
            </a:r>
            <a:r>
              <a:rPr lang="es-ES" b="0" dirty="0" err="1"/>
              <a:t>peripheral</a:t>
            </a:r>
            <a:r>
              <a:rPr lang="es-ES" b="0" dirty="0"/>
              <a:t> arterial and </a:t>
            </a:r>
            <a:r>
              <a:rPr lang="es-ES" b="0" dirty="0" err="1"/>
              <a:t>aortic</a:t>
            </a:r>
            <a:r>
              <a:rPr lang="es-ES" b="0" dirty="0"/>
              <a:t> </a:t>
            </a:r>
            <a:r>
              <a:rPr lang="es-ES" b="0" dirty="0" err="1"/>
              <a:t>diseases</a:t>
            </a:r>
            <a:r>
              <a:rPr lang="es-ES" b="0" dirty="0"/>
              <a:t>, </a:t>
            </a:r>
            <a:r>
              <a:rPr lang="es-ES" b="0" dirty="0" err="1"/>
              <a:t>European</a:t>
            </a:r>
            <a:r>
              <a:rPr lang="es-ES" b="0" dirty="0"/>
              <a:t> Heart </a:t>
            </a:r>
            <a:r>
              <a:rPr lang="es-ES" b="0" dirty="0" err="1"/>
              <a:t>Journal</a:t>
            </a:r>
            <a:r>
              <a:rPr lang="es-ES" b="0" dirty="0"/>
              <a:t>, </a:t>
            </a:r>
            <a:r>
              <a:rPr lang="es-ES" b="0" dirty="0" err="1"/>
              <a:t>Volume</a:t>
            </a:r>
            <a:r>
              <a:rPr lang="es-ES" b="0" dirty="0"/>
              <a:t> 45, </a:t>
            </a:r>
            <a:r>
              <a:rPr lang="es-ES" b="0" dirty="0" err="1"/>
              <a:t>Issue</a:t>
            </a:r>
            <a:r>
              <a:rPr lang="es-ES" b="0" dirty="0"/>
              <a:t> 36, 21 </a:t>
            </a:r>
            <a:r>
              <a:rPr lang="es-ES" b="0" dirty="0" err="1"/>
              <a:t>September</a:t>
            </a:r>
            <a:r>
              <a:rPr lang="es-ES" b="0" dirty="0"/>
              <a:t> 2024, Pages 3538–3700, doi.org/10.1093/</a:t>
            </a:r>
            <a:r>
              <a:rPr lang="es-ES" b="0" dirty="0" err="1"/>
              <a:t>eurheartj</a:t>
            </a:r>
            <a:r>
              <a:rPr lang="es-ES" b="0" dirty="0"/>
              <a:t>/ehae179</a:t>
            </a: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F81925F5-0416-F7DF-2B13-98653B417CB1}"/>
              </a:ext>
            </a:extLst>
          </p:cNvPr>
          <p:cNvSpPr/>
          <p:nvPr/>
        </p:nvSpPr>
        <p:spPr>
          <a:xfrm>
            <a:off x="660594" y="2063421"/>
            <a:ext cx="5901018" cy="109509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ES_tradnl" sz="2200" b="1" dirty="0">
                <a:solidFill>
                  <a:schemeClr val="bg1"/>
                </a:solidFill>
              </a:rPr>
              <a:t>Las enfermedades cardiovasculares (ECV) son la 1ª causa de muerte a nivel mundial</a:t>
            </a:r>
            <a:r>
              <a:rPr lang="es-ES_tradnl" sz="2400" b="1" baseline="30000" dirty="0">
                <a:solidFill>
                  <a:schemeClr val="bg1"/>
                </a:solidFill>
              </a:rPr>
              <a:t>1</a:t>
            </a:r>
            <a:endParaRPr lang="es-ES" sz="2200" b="1" dirty="0">
              <a:solidFill>
                <a:schemeClr val="bg1"/>
              </a:solidFill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4C1F4292-EAFC-3EBD-A615-C62A5E31F32C}"/>
              </a:ext>
            </a:extLst>
          </p:cNvPr>
          <p:cNvSpPr/>
          <p:nvPr/>
        </p:nvSpPr>
        <p:spPr>
          <a:xfrm>
            <a:off x="678058" y="3342844"/>
            <a:ext cx="5901018" cy="946150"/>
          </a:xfrm>
          <a:prstGeom prst="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ES_tradnl" sz="2000" b="1" dirty="0">
                <a:solidFill>
                  <a:schemeClr val="accent1"/>
                </a:solidFill>
              </a:rPr>
              <a:t>Muertes anuales: </a:t>
            </a:r>
          </a:p>
          <a:p>
            <a:pPr algn="ctr">
              <a:defRPr/>
            </a:pPr>
            <a:r>
              <a:rPr lang="es-ES_tradnl" sz="2000" b="1" dirty="0">
                <a:solidFill>
                  <a:schemeClr val="accent1"/>
                </a:solidFill>
              </a:rPr>
              <a:t>42,5% en Europa</a:t>
            </a:r>
            <a:r>
              <a:rPr lang="es-ES_tradnl" sz="2000" b="1" baseline="30000" dirty="0">
                <a:solidFill>
                  <a:schemeClr val="accent1"/>
                </a:solidFill>
              </a:rPr>
              <a:t>2</a:t>
            </a:r>
            <a:r>
              <a:rPr lang="es-ES_tradnl" sz="2000" b="1" dirty="0">
                <a:solidFill>
                  <a:schemeClr val="accent1"/>
                </a:solidFill>
              </a:rPr>
              <a:t>, 32% a nivel mundial</a:t>
            </a:r>
            <a:r>
              <a:rPr lang="es-ES_tradnl" sz="2000" b="1" baseline="30000" dirty="0">
                <a:solidFill>
                  <a:schemeClr val="accent1"/>
                </a:solidFill>
              </a:rPr>
              <a:t>1</a:t>
            </a:r>
            <a:endParaRPr lang="es-ES" sz="2000" b="1" baseline="30000" dirty="0">
              <a:solidFill>
                <a:schemeClr val="accent1"/>
              </a:solidFill>
            </a:endParaRPr>
          </a:p>
        </p:txBody>
      </p:sp>
      <p:sp>
        <p:nvSpPr>
          <p:cNvPr id="15" name="Título 1">
            <a:extLst>
              <a:ext uri="{FF2B5EF4-FFF2-40B4-BE49-F238E27FC236}">
                <a16:creationId xmlns:a16="http://schemas.microsoft.com/office/drawing/2014/main" id="{C96F2BA3-BAD1-2C63-FE9D-FC0B0971E6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956" y="176122"/>
            <a:ext cx="11402089" cy="760793"/>
          </a:xfrm>
        </p:spPr>
        <p:txBody>
          <a:bodyPr>
            <a:normAutofit/>
          </a:bodyPr>
          <a:lstStyle/>
          <a:p>
            <a:r>
              <a:rPr lang="es-ES_tradnl" sz="2800" dirty="0"/>
              <a:t>Enfermedad cardiovascular y sus consecuencias</a:t>
            </a:r>
            <a:endParaRPr lang="es-ES" sz="2800" dirty="0"/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70812694-6C0C-58D2-8EEF-CDB4A69E6A47}"/>
              </a:ext>
            </a:extLst>
          </p:cNvPr>
          <p:cNvSpPr txBox="1"/>
          <p:nvPr/>
        </p:nvSpPr>
        <p:spPr>
          <a:xfrm>
            <a:off x="756130" y="4468366"/>
            <a:ext cx="574487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2000" i="0" dirty="0">
                <a:solidFill>
                  <a:schemeClr val="accent1"/>
                </a:solidFill>
                <a:effectLst/>
                <a:latin typeface="Roboto" panose="02000000000000000000" pitchFamily="2" charset="0"/>
              </a:rPr>
              <a:t>La aterosclerosis es la principal causa de ECV</a:t>
            </a:r>
            <a:r>
              <a:rPr lang="es-ES" sz="2000" i="0" baseline="30000" dirty="0">
                <a:solidFill>
                  <a:schemeClr val="accent1"/>
                </a:solidFill>
                <a:effectLst/>
                <a:latin typeface="Roboto" panose="02000000000000000000" pitchFamily="2" charset="0"/>
              </a:rPr>
              <a:t>3</a:t>
            </a:r>
            <a:r>
              <a:rPr lang="es-ES" sz="2000" i="0" dirty="0">
                <a:solidFill>
                  <a:schemeClr val="accent1"/>
                </a:solidFill>
                <a:effectLst/>
                <a:latin typeface="Roboto" panose="02000000000000000000" pitchFamily="2" charset="0"/>
              </a:rPr>
              <a:t>.</a:t>
            </a:r>
            <a:endParaRPr lang="es-ES" sz="2000" dirty="0">
              <a:solidFill>
                <a:schemeClr val="accent1"/>
              </a:solidFill>
            </a:endParaRP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783D3EAF-B9CE-0C3C-DF8A-FD2F022C2D2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60468" y="3347409"/>
            <a:ext cx="3387871" cy="1359058"/>
          </a:xfrm>
          <a:prstGeom prst="rect">
            <a:avLst/>
          </a:prstGeom>
        </p:spPr>
      </p:pic>
      <p:grpSp>
        <p:nvGrpSpPr>
          <p:cNvPr id="19" name="Grupo 18">
            <a:extLst>
              <a:ext uri="{FF2B5EF4-FFF2-40B4-BE49-F238E27FC236}">
                <a16:creationId xmlns:a16="http://schemas.microsoft.com/office/drawing/2014/main" id="{01464464-3199-3FBC-5775-4A844388F7EF}"/>
              </a:ext>
            </a:extLst>
          </p:cNvPr>
          <p:cNvGrpSpPr/>
          <p:nvPr/>
        </p:nvGrpSpPr>
        <p:grpSpPr>
          <a:xfrm>
            <a:off x="7514274" y="2099101"/>
            <a:ext cx="3680258" cy="1253057"/>
            <a:chOff x="4798031" y="1673379"/>
            <a:chExt cx="3912832" cy="1439035"/>
          </a:xfrm>
        </p:grpSpPr>
        <p:pic>
          <p:nvPicPr>
            <p:cNvPr id="20" name="Imagen 19">
              <a:extLst>
                <a:ext uri="{FF2B5EF4-FFF2-40B4-BE49-F238E27FC236}">
                  <a16:creationId xmlns:a16="http://schemas.microsoft.com/office/drawing/2014/main" id="{43BF2ED4-2A93-9484-1BC5-EAD35FDC8A0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839128" y="1673379"/>
              <a:ext cx="3871735" cy="1408213"/>
            </a:xfrm>
            <a:prstGeom prst="rect">
              <a:avLst/>
            </a:prstGeom>
          </p:spPr>
        </p:pic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9E89D072-ED06-F4D4-7FC2-945B5A1A6865}"/>
                </a:ext>
              </a:extLst>
            </p:cNvPr>
            <p:cNvSpPr/>
            <p:nvPr/>
          </p:nvSpPr>
          <p:spPr>
            <a:xfrm>
              <a:off x="4798031" y="2745167"/>
              <a:ext cx="174661" cy="36724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grpSp>
        <p:nvGrpSpPr>
          <p:cNvPr id="22" name="Grupo 21">
            <a:extLst>
              <a:ext uri="{FF2B5EF4-FFF2-40B4-BE49-F238E27FC236}">
                <a16:creationId xmlns:a16="http://schemas.microsoft.com/office/drawing/2014/main" id="{EF554A33-3C30-AF1E-2744-D78C95D05353}"/>
              </a:ext>
            </a:extLst>
          </p:cNvPr>
          <p:cNvGrpSpPr/>
          <p:nvPr/>
        </p:nvGrpSpPr>
        <p:grpSpPr>
          <a:xfrm>
            <a:off x="7542496" y="4668244"/>
            <a:ext cx="3623814" cy="1298356"/>
            <a:chOff x="5116530" y="4674088"/>
            <a:chExt cx="3852830" cy="1491056"/>
          </a:xfrm>
        </p:grpSpPr>
        <p:pic>
          <p:nvPicPr>
            <p:cNvPr id="23" name="Imagen 22">
              <a:extLst>
                <a:ext uri="{FF2B5EF4-FFF2-40B4-BE49-F238E27FC236}">
                  <a16:creationId xmlns:a16="http://schemas.microsoft.com/office/drawing/2014/main" id="{C9DFFB2C-EABB-47B7-4ED6-CFFC6FEA331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116542" y="4756933"/>
              <a:ext cx="3852818" cy="1408211"/>
            </a:xfrm>
            <a:prstGeom prst="rect">
              <a:avLst/>
            </a:prstGeom>
          </p:spPr>
        </p:pic>
        <p:sp>
          <p:nvSpPr>
            <p:cNvPr id="24" name="Rectángulo 23">
              <a:extLst>
                <a:ext uri="{FF2B5EF4-FFF2-40B4-BE49-F238E27FC236}">
                  <a16:creationId xmlns:a16="http://schemas.microsoft.com/office/drawing/2014/main" id="{F8FC8DA0-C734-9FD5-22D1-2C0EB62530D0}"/>
                </a:ext>
              </a:extLst>
            </p:cNvPr>
            <p:cNvSpPr/>
            <p:nvPr/>
          </p:nvSpPr>
          <p:spPr>
            <a:xfrm>
              <a:off x="5116530" y="4674088"/>
              <a:ext cx="174661" cy="36724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25" name="CuadroTexto 24">
            <a:extLst>
              <a:ext uri="{FF2B5EF4-FFF2-40B4-BE49-F238E27FC236}">
                <a16:creationId xmlns:a16="http://schemas.microsoft.com/office/drawing/2014/main" id="{DC91AA07-BBF7-CD2E-F7AD-BD3AE25D53E0}"/>
              </a:ext>
            </a:extLst>
          </p:cNvPr>
          <p:cNvSpPr txBox="1"/>
          <p:nvPr/>
        </p:nvSpPr>
        <p:spPr>
          <a:xfrm>
            <a:off x="6879102" y="1382836"/>
            <a:ext cx="493153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i="0" dirty="0">
                <a:solidFill>
                  <a:schemeClr val="accent1"/>
                </a:solidFill>
                <a:effectLst/>
                <a:latin typeface="Roboto" panose="02000000000000000000" pitchFamily="2" charset="0"/>
              </a:rPr>
              <a:t>Si los </a:t>
            </a:r>
            <a:r>
              <a:rPr lang="es-ES" sz="1400" dirty="0">
                <a:solidFill>
                  <a:schemeClr val="accent1"/>
                </a:solidFill>
                <a:latin typeface="Roboto" panose="02000000000000000000" pitchFamily="2" charset="0"/>
              </a:rPr>
              <a:t>factores de riesgo cardiovascular </a:t>
            </a:r>
            <a:r>
              <a:rPr lang="es-ES" sz="1400" i="0" dirty="0">
                <a:solidFill>
                  <a:schemeClr val="accent1"/>
                </a:solidFill>
                <a:effectLst/>
                <a:latin typeface="Roboto" panose="02000000000000000000" pitchFamily="2" charset="0"/>
              </a:rPr>
              <a:t>no se controlan bien, puede llevar a consecuencias potencialmente graves</a:t>
            </a:r>
            <a:r>
              <a:rPr lang="es-ES" sz="1400" i="0" baseline="30000" dirty="0">
                <a:solidFill>
                  <a:schemeClr val="accent1"/>
                </a:solidFill>
                <a:effectLst/>
                <a:latin typeface="Roboto" panose="02000000000000000000" pitchFamily="2" charset="0"/>
              </a:rPr>
              <a:t>4</a:t>
            </a:r>
            <a:r>
              <a:rPr lang="es-ES" sz="1400" i="0" dirty="0">
                <a:solidFill>
                  <a:schemeClr val="accent1"/>
                </a:solidFill>
                <a:effectLst/>
                <a:latin typeface="Roboto" panose="02000000000000000000" pitchFamily="2" charset="0"/>
              </a:rPr>
              <a:t>.</a:t>
            </a:r>
            <a:endParaRPr lang="es-ES" sz="1400" dirty="0">
              <a:solidFill>
                <a:schemeClr val="accent1"/>
              </a:solidFill>
            </a:endParaRP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C865BC31-48DC-2166-CA47-3D1F25A04830}"/>
              </a:ext>
            </a:extLst>
          </p:cNvPr>
          <p:cNvSpPr txBox="1"/>
          <p:nvPr/>
        </p:nvSpPr>
        <p:spPr>
          <a:xfrm>
            <a:off x="7708196" y="5984477"/>
            <a:ext cx="3406589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8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 err="1"/>
              <a:t>European</a:t>
            </a:r>
            <a:r>
              <a:rPr lang="es-ES" dirty="0"/>
              <a:t> Heart </a:t>
            </a:r>
            <a:r>
              <a:rPr lang="es-ES" dirty="0" err="1"/>
              <a:t>Journal</a:t>
            </a:r>
            <a:r>
              <a:rPr lang="es-ES" dirty="0"/>
              <a:t>, </a:t>
            </a:r>
            <a:r>
              <a:rPr lang="es-ES" dirty="0" err="1"/>
              <a:t>Volume</a:t>
            </a:r>
            <a:r>
              <a:rPr lang="es-ES" dirty="0"/>
              <a:t> 45, </a:t>
            </a:r>
            <a:r>
              <a:rPr lang="es-ES" dirty="0" err="1"/>
              <a:t>Issue</a:t>
            </a:r>
            <a:r>
              <a:rPr lang="es-ES" dirty="0"/>
              <a:t> 36, 21 </a:t>
            </a:r>
            <a:r>
              <a:rPr lang="es-ES" dirty="0" err="1"/>
              <a:t>September</a:t>
            </a:r>
            <a:r>
              <a:rPr lang="es-ES" dirty="0"/>
              <a:t> 2024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BF3A9649-81F8-62CC-0D5F-3F0D63B30FA9}"/>
              </a:ext>
            </a:extLst>
          </p:cNvPr>
          <p:cNvSpPr txBox="1"/>
          <p:nvPr/>
        </p:nvSpPr>
        <p:spPr>
          <a:xfrm rot="16200000">
            <a:off x="10584462" y="3677419"/>
            <a:ext cx="25370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0</a:t>
            </a:r>
            <a:endParaRPr lang="es-ES" sz="12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2735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BF7DC83-B607-43FF-114A-2BC1254A1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2535" y="174614"/>
            <a:ext cx="10346231" cy="880781"/>
          </a:xfrm>
        </p:spPr>
        <p:txBody>
          <a:bodyPr>
            <a:normAutofit/>
          </a:bodyPr>
          <a:lstStyle/>
          <a:p>
            <a:r>
              <a:rPr lang="es-ES_tradnl" sz="2800" dirty="0"/>
              <a:t>Clasificación de los factores de riesgo cardiovascular</a:t>
            </a:r>
            <a:endParaRPr lang="es-ES" sz="2800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16CF7EA0-5CD6-0D67-A414-CCAD15D56050}"/>
              </a:ext>
            </a:extLst>
          </p:cNvPr>
          <p:cNvSpPr txBox="1"/>
          <p:nvPr/>
        </p:nvSpPr>
        <p:spPr>
          <a:xfrm>
            <a:off x="765164" y="1356683"/>
            <a:ext cx="630761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" sz="1600" dirty="0">
                <a:solidFill>
                  <a:schemeClr val="accent1"/>
                </a:solidFill>
              </a:rPr>
              <a:t>Los factores de riesgo cardiovasculares se pueden clasificar como </a:t>
            </a:r>
            <a:r>
              <a:rPr lang="es-ES" sz="1600" b="1" dirty="0">
                <a:solidFill>
                  <a:schemeClr val="accent1"/>
                </a:solidFill>
              </a:rPr>
              <a:t>no modificables</a:t>
            </a:r>
            <a:r>
              <a:rPr lang="es-ES" sz="1600" dirty="0">
                <a:solidFill>
                  <a:schemeClr val="accent1"/>
                </a:solidFill>
              </a:rPr>
              <a:t> y </a:t>
            </a:r>
            <a:r>
              <a:rPr lang="es-ES" sz="1600" b="1" dirty="0">
                <a:solidFill>
                  <a:schemeClr val="accent1"/>
                </a:solidFill>
              </a:rPr>
              <a:t>modificables</a:t>
            </a:r>
            <a:r>
              <a:rPr lang="en-US" sz="1600" baseline="30000" dirty="0">
                <a:solidFill>
                  <a:schemeClr val="accent1"/>
                </a:solidFill>
              </a:rPr>
              <a:t>1</a:t>
            </a:r>
            <a:r>
              <a:rPr lang="en-US" sz="1600" dirty="0">
                <a:solidFill>
                  <a:schemeClr val="accent1"/>
                </a:solidFill>
              </a:rPr>
              <a:t>. 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E1A9039C-61E2-B7D3-F456-3F9642E682B8}"/>
              </a:ext>
            </a:extLst>
          </p:cNvPr>
          <p:cNvSpPr txBox="1"/>
          <p:nvPr/>
        </p:nvSpPr>
        <p:spPr>
          <a:xfrm>
            <a:off x="6224337" y="6021692"/>
            <a:ext cx="5767136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/>
              <a:t>1, </a:t>
            </a:r>
            <a:r>
              <a:rPr lang="es-ES" b="0" dirty="0" err="1"/>
              <a:t>Maculewicz</a:t>
            </a:r>
            <a:r>
              <a:rPr lang="es-ES" b="0" dirty="0"/>
              <a:t> E, et al. </a:t>
            </a:r>
            <a:r>
              <a:rPr lang="es-ES" b="0" dirty="0" err="1"/>
              <a:t>Endogenous</a:t>
            </a:r>
            <a:r>
              <a:rPr lang="es-ES" b="0" dirty="0"/>
              <a:t> </a:t>
            </a:r>
            <a:r>
              <a:rPr lang="es-ES" b="0" dirty="0" err="1"/>
              <a:t>Risk</a:t>
            </a:r>
            <a:r>
              <a:rPr lang="es-ES" b="0" dirty="0"/>
              <a:t> </a:t>
            </a:r>
            <a:r>
              <a:rPr lang="es-ES" b="0" dirty="0" err="1"/>
              <a:t>Factors</a:t>
            </a:r>
            <a:r>
              <a:rPr lang="es-ES" b="0" dirty="0"/>
              <a:t> </a:t>
            </a:r>
            <a:r>
              <a:rPr lang="es-ES" b="0" dirty="0" err="1"/>
              <a:t>of</a:t>
            </a:r>
            <a:r>
              <a:rPr lang="es-ES" b="0" dirty="0"/>
              <a:t> Cardiovascular </a:t>
            </a:r>
            <a:r>
              <a:rPr lang="es-ES" b="0" dirty="0" err="1"/>
              <a:t>Diseases</a:t>
            </a:r>
            <a:r>
              <a:rPr lang="es-ES" b="0" dirty="0"/>
              <a:t> (</a:t>
            </a:r>
            <a:r>
              <a:rPr lang="es-ES" b="0" dirty="0" err="1"/>
              <a:t>CVDs</a:t>
            </a:r>
            <a:r>
              <a:rPr lang="es-ES" b="0" dirty="0"/>
              <a:t>) in </a:t>
            </a:r>
            <a:r>
              <a:rPr lang="es-ES" b="0" dirty="0" err="1"/>
              <a:t>Military</a:t>
            </a:r>
            <a:r>
              <a:rPr lang="es-ES" b="0" dirty="0"/>
              <a:t> </a:t>
            </a:r>
            <a:r>
              <a:rPr lang="es-ES" b="0" dirty="0" err="1"/>
              <a:t>Professionals</a:t>
            </a:r>
            <a:r>
              <a:rPr lang="es-ES" b="0" dirty="0"/>
              <a:t> </a:t>
            </a:r>
            <a:r>
              <a:rPr lang="es-ES" b="0" dirty="0" err="1"/>
              <a:t>with</a:t>
            </a:r>
            <a:r>
              <a:rPr lang="es-ES" b="0" dirty="0"/>
              <a:t> a </a:t>
            </a:r>
            <a:r>
              <a:rPr lang="es-ES" b="0" dirty="0" err="1"/>
              <a:t>Special</a:t>
            </a:r>
            <a:r>
              <a:rPr lang="es-ES" b="0" dirty="0"/>
              <a:t> </a:t>
            </a:r>
            <a:r>
              <a:rPr lang="es-ES" b="0" dirty="0" err="1"/>
              <a:t>Emphasis</a:t>
            </a:r>
            <a:r>
              <a:rPr lang="es-ES" b="0" dirty="0"/>
              <a:t> </a:t>
            </a:r>
            <a:r>
              <a:rPr lang="es-ES" b="0" dirty="0" err="1"/>
              <a:t>on</a:t>
            </a:r>
            <a:r>
              <a:rPr lang="es-ES" b="0" dirty="0"/>
              <a:t> </a:t>
            </a:r>
            <a:r>
              <a:rPr lang="es-ES" b="0" dirty="0" err="1"/>
              <a:t>Military</a:t>
            </a:r>
            <a:r>
              <a:rPr lang="es-ES" b="0" dirty="0"/>
              <a:t> </a:t>
            </a:r>
            <a:r>
              <a:rPr lang="es-ES" b="0" dirty="0" err="1"/>
              <a:t>Pilots</a:t>
            </a:r>
            <a:r>
              <a:rPr lang="es-ES" b="0" dirty="0"/>
              <a:t>. J Clin </a:t>
            </a:r>
            <a:r>
              <a:rPr lang="es-ES" b="0" dirty="0" err="1"/>
              <a:t>Med</a:t>
            </a:r>
            <a:r>
              <a:rPr lang="es-ES" b="0" dirty="0"/>
              <a:t>. 2022 Jul 25;11(15):4314. </a:t>
            </a:r>
            <a:r>
              <a:rPr lang="es-ES" b="0" dirty="0" err="1"/>
              <a:t>doi</a:t>
            </a:r>
            <a:r>
              <a:rPr lang="es-ES" b="0" dirty="0"/>
              <a:t>: 10.3390/jcm11154314. </a:t>
            </a:r>
            <a:r>
              <a:rPr lang="en-US" dirty="0"/>
              <a:t>2. </a:t>
            </a:r>
            <a:r>
              <a:rPr lang="en-US" b="0" dirty="0"/>
              <a:t>Alves-Silva JM, et al. The Role of Essential Oils and Their Main Compounds in the Management of Cardiovascular Disease Risk Factors. Molecules. 2021 Jun 9;26(12):3506. </a:t>
            </a:r>
            <a:r>
              <a:rPr lang="en-US" b="0" dirty="0" err="1"/>
              <a:t>doi</a:t>
            </a:r>
            <a:r>
              <a:rPr lang="en-US" b="0" dirty="0"/>
              <a:t>: 10.3390/molecules26123506.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4B0DDA3E-B447-D3DD-1FC1-C7AEE765F7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3279" y="1699342"/>
            <a:ext cx="4162549" cy="3678403"/>
          </a:xfrm>
          <a:prstGeom prst="rect">
            <a:avLst/>
          </a:prstGeom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24DA3E58-6791-B40C-8793-CC378E7687AC}"/>
              </a:ext>
            </a:extLst>
          </p:cNvPr>
          <p:cNvSpPr txBox="1"/>
          <p:nvPr/>
        </p:nvSpPr>
        <p:spPr>
          <a:xfrm>
            <a:off x="7224283" y="1360788"/>
            <a:ext cx="42561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400" b="1" i="0" u="none" strike="noStrike" baseline="0">
                <a:solidFill>
                  <a:srgbClr val="000000"/>
                </a:solidFill>
                <a:latin typeface="Akzidenz Grotesk BE Bold"/>
              </a:defRPr>
            </a:lvl1pPr>
          </a:lstStyle>
          <a:p>
            <a:r>
              <a:rPr lang="es-ES" sz="1600" dirty="0"/>
              <a:t>Factores de riesgo cardiovasculares</a:t>
            </a:r>
            <a:r>
              <a:rPr lang="es-ES" sz="1600" baseline="30000" dirty="0"/>
              <a:t>2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73C18B56-5FD9-70DE-18D3-AF2A0E3F7F2B}"/>
              </a:ext>
            </a:extLst>
          </p:cNvPr>
          <p:cNvSpPr txBox="1"/>
          <p:nvPr/>
        </p:nvSpPr>
        <p:spPr>
          <a:xfrm>
            <a:off x="8077020" y="5389490"/>
            <a:ext cx="2550696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fr-FR" dirty="0" err="1"/>
              <a:t>Molecules</a:t>
            </a:r>
            <a:r>
              <a:rPr lang="fr-FR" dirty="0"/>
              <a:t>. 2021 Jun 9;26(12):3506.</a:t>
            </a:r>
            <a:endParaRPr lang="es-ES" dirty="0"/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6CC092EC-9F8C-0EE2-F093-267090FC8170}"/>
              </a:ext>
            </a:extLst>
          </p:cNvPr>
          <p:cNvSpPr txBox="1"/>
          <p:nvPr/>
        </p:nvSpPr>
        <p:spPr>
          <a:xfrm>
            <a:off x="467519" y="2126532"/>
            <a:ext cx="630761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>
                <a:solidFill>
                  <a:schemeClr val="accent1"/>
                </a:solidFill>
              </a:defRPr>
            </a:lvl1pPr>
          </a:lstStyle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s-ES" sz="1400" dirty="0"/>
              <a:t>Los factores de riesgo clásicos </a:t>
            </a:r>
            <a:r>
              <a:rPr lang="es-ES" sz="1400" b="1" dirty="0"/>
              <a:t>no modificables </a:t>
            </a:r>
            <a:r>
              <a:rPr lang="es-ES" sz="1400" dirty="0"/>
              <a:t>incluyen principalmente la edad, el sexo, la etnia y los factores genéticos</a:t>
            </a:r>
            <a:r>
              <a:rPr lang="en-US" sz="1400" baseline="30000" dirty="0">
                <a:solidFill>
                  <a:schemeClr val="accent1"/>
                </a:solidFill>
              </a:rPr>
              <a:t>1</a:t>
            </a:r>
            <a:r>
              <a:rPr lang="es-ES" sz="1400" dirty="0"/>
              <a:t>.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11405A24-3120-63D2-E196-40F124E7E4FA}"/>
              </a:ext>
            </a:extLst>
          </p:cNvPr>
          <p:cNvSpPr txBox="1"/>
          <p:nvPr/>
        </p:nvSpPr>
        <p:spPr>
          <a:xfrm>
            <a:off x="455487" y="2827522"/>
            <a:ext cx="6319646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marL="285750" indent="-285750">
              <a:buFont typeface="Wingdings" panose="05000000000000000000" pitchFamily="2" charset="2"/>
              <a:buChar char="§"/>
              <a:defRPr sz="1400">
                <a:solidFill>
                  <a:schemeClr val="accent1"/>
                </a:solidFill>
              </a:defRPr>
            </a:lvl1pPr>
          </a:lstStyle>
          <a:p>
            <a:pPr algn="just"/>
            <a:r>
              <a:rPr lang="es-ES" dirty="0"/>
              <a:t>Los factores de riesgo </a:t>
            </a:r>
            <a:r>
              <a:rPr lang="es-ES" b="1" dirty="0"/>
              <a:t>modificables</a:t>
            </a:r>
            <a:r>
              <a:rPr lang="es-ES" dirty="0"/>
              <a:t> incluyen algunos factores exógenos y conductuales que pueden modificarse fácilmente, mientras que los factores de riesgo endógenos modificables pueden modificarse hasta cierto punto</a:t>
            </a:r>
            <a:r>
              <a:rPr lang="en-US" sz="1400" baseline="30000" dirty="0">
                <a:solidFill>
                  <a:schemeClr val="accent1"/>
                </a:solidFill>
              </a:rPr>
              <a:t>1</a:t>
            </a:r>
            <a:r>
              <a:rPr lang="es-ES" dirty="0"/>
              <a:t>.</a:t>
            </a:r>
          </a:p>
        </p:txBody>
      </p:sp>
      <p:graphicFrame>
        <p:nvGraphicFramePr>
          <p:cNvPr id="17" name="Tabla 16">
            <a:extLst>
              <a:ext uri="{FF2B5EF4-FFF2-40B4-BE49-F238E27FC236}">
                <a16:creationId xmlns:a16="http://schemas.microsoft.com/office/drawing/2014/main" id="{229313B1-6C86-1BB1-37A4-89BFA43610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3703550"/>
              </p:ext>
            </p:extLst>
          </p:nvPr>
        </p:nvGraphicFramePr>
        <p:xfrm>
          <a:off x="2450824" y="3782056"/>
          <a:ext cx="3212510" cy="25355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6255">
                  <a:extLst>
                    <a:ext uri="{9D8B030D-6E8A-4147-A177-3AD203B41FA5}">
                      <a16:colId xmlns:a16="http://schemas.microsoft.com/office/drawing/2014/main" val="4106110350"/>
                    </a:ext>
                  </a:extLst>
                </a:gridCol>
                <a:gridCol w="1606255">
                  <a:extLst>
                    <a:ext uri="{9D8B030D-6E8A-4147-A177-3AD203B41FA5}">
                      <a16:colId xmlns:a16="http://schemas.microsoft.com/office/drawing/2014/main" val="4182870422"/>
                    </a:ext>
                  </a:extLst>
                </a:gridCol>
              </a:tblGrid>
              <a:tr h="338077">
                <a:tc gridSpan="2">
                  <a:txBody>
                    <a:bodyPr/>
                    <a:lstStyle/>
                    <a:p>
                      <a:pPr algn="ctr"/>
                      <a:r>
                        <a:rPr lang="es-ES_tradnl" sz="1600" dirty="0"/>
                        <a:t>Modificables</a:t>
                      </a:r>
                      <a:r>
                        <a:rPr lang="es-ES_tradnl" sz="1600" baseline="30000" dirty="0"/>
                        <a:t>1</a:t>
                      </a:r>
                      <a:endParaRPr lang="es-ES" baseline="30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8246629"/>
                  </a:ext>
                </a:extLst>
              </a:tr>
              <a:tr h="309904">
                <a:tc>
                  <a:txBody>
                    <a:bodyPr/>
                    <a:lstStyle/>
                    <a:p>
                      <a:pPr algn="ctr"/>
                      <a:r>
                        <a:rPr lang="es-ES" sz="1400" b="1" dirty="0">
                          <a:solidFill>
                            <a:schemeClr val="accent1"/>
                          </a:solidFill>
                        </a:rPr>
                        <a:t>Exógeno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400" b="1" dirty="0">
                          <a:solidFill>
                            <a:schemeClr val="accent1"/>
                          </a:solidFill>
                        </a:rPr>
                        <a:t>Endógenos</a:t>
                      </a:r>
                      <a:endParaRPr lang="es-ES" sz="14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7747429"/>
                  </a:ext>
                </a:extLst>
              </a:tr>
              <a:tr h="281731">
                <a:tc>
                  <a:txBody>
                    <a:bodyPr/>
                    <a:lstStyle/>
                    <a:p>
                      <a:pPr algn="ctr"/>
                      <a:r>
                        <a:rPr lang="es-ES_tradnl" sz="1200" dirty="0">
                          <a:solidFill>
                            <a:schemeClr val="accent1"/>
                          </a:solidFill>
                        </a:rPr>
                        <a:t>Tabaquismo</a:t>
                      </a:r>
                      <a:endParaRPr lang="es-ES" sz="1200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200" dirty="0">
                          <a:solidFill>
                            <a:schemeClr val="accent1"/>
                          </a:solidFill>
                        </a:rPr>
                        <a:t>Dislipemia</a:t>
                      </a:r>
                      <a:endParaRPr lang="es-ES" sz="1200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33377557"/>
                  </a:ext>
                </a:extLst>
              </a:tr>
              <a:tr h="281731">
                <a:tc>
                  <a:txBody>
                    <a:bodyPr/>
                    <a:lstStyle/>
                    <a:p>
                      <a:pPr algn="ctr"/>
                      <a:r>
                        <a:rPr lang="es-ES_tradnl" sz="1200" dirty="0">
                          <a:solidFill>
                            <a:schemeClr val="accent1"/>
                          </a:solidFill>
                        </a:rPr>
                        <a:t>Dieta</a:t>
                      </a:r>
                      <a:endParaRPr lang="es-ES" sz="1200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200" dirty="0">
                          <a:solidFill>
                            <a:schemeClr val="accent1"/>
                          </a:solidFill>
                        </a:rPr>
                        <a:t>Hipertensión</a:t>
                      </a:r>
                      <a:endParaRPr lang="es-ES" sz="1200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36108116"/>
                  </a:ext>
                </a:extLst>
              </a:tr>
              <a:tr h="281731">
                <a:tc>
                  <a:txBody>
                    <a:bodyPr/>
                    <a:lstStyle/>
                    <a:p>
                      <a:pPr algn="ctr"/>
                      <a:r>
                        <a:rPr lang="es-ES_tradnl" sz="1200" dirty="0">
                          <a:solidFill>
                            <a:schemeClr val="accent1"/>
                          </a:solidFill>
                        </a:rPr>
                        <a:t>Actividad física</a:t>
                      </a:r>
                      <a:endParaRPr lang="es-ES" sz="1200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200" dirty="0">
                          <a:solidFill>
                            <a:schemeClr val="accent1"/>
                          </a:solidFill>
                        </a:rPr>
                        <a:t>Diabetes</a:t>
                      </a:r>
                      <a:endParaRPr lang="es-ES" sz="1200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83361363"/>
                  </a:ext>
                </a:extLst>
              </a:tr>
              <a:tr h="281731">
                <a:tc>
                  <a:txBody>
                    <a:bodyPr/>
                    <a:lstStyle/>
                    <a:p>
                      <a:pPr algn="ctr"/>
                      <a:r>
                        <a:rPr lang="es-ES_tradnl" sz="1200" dirty="0">
                          <a:solidFill>
                            <a:schemeClr val="accent1"/>
                          </a:solidFill>
                        </a:rPr>
                        <a:t>Alcoholismo</a:t>
                      </a:r>
                      <a:endParaRPr lang="es-ES" sz="1200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200" dirty="0">
                          <a:solidFill>
                            <a:schemeClr val="accent1"/>
                          </a:solidFill>
                        </a:rPr>
                        <a:t>Inflamación</a:t>
                      </a:r>
                      <a:endParaRPr lang="es-ES" sz="1200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97063892"/>
                  </a:ext>
                </a:extLst>
              </a:tr>
              <a:tr h="281731">
                <a:tc>
                  <a:txBody>
                    <a:bodyPr/>
                    <a:lstStyle/>
                    <a:p>
                      <a:pPr algn="ctr"/>
                      <a:r>
                        <a:rPr lang="es-ES_tradnl" sz="1150" dirty="0">
                          <a:solidFill>
                            <a:schemeClr val="accent1"/>
                          </a:solidFill>
                        </a:rPr>
                        <a:t>Factores psicológicos</a:t>
                      </a:r>
                      <a:endParaRPr lang="es-ES" sz="1150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200" dirty="0">
                          <a:solidFill>
                            <a:schemeClr val="accent1"/>
                          </a:solidFill>
                        </a:rPr>
                        <a:t>Obesidad</a:t>
                      </a:r>
                      <a:endParaRPr lang="es-ES" sz="1200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21420012"/>
                  </a:ext>
                </a:extLst>
              </a:tr>
              <a:tr h="478942">
                <a:tc>
                  <a:txBody>
                    <a:bodyPr/>
                    <a:lstStyle/>
                    <a:p>
                      <a:pPr algn="ctr"/>
                      <a:r>
                        <a:rPr lang="es-ES_tradnl" sz="1200" dirty="0">
                          <a:solidFill>
                            <a:schemeClr val="accent1"/>
                          </a:solidFill>
                        </a:rPr>
                        <a:t>Estatus socio-económico</a:t>
                      </a:r>
                      <a:endParaRPr lang="es-ES" sz="1200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200" dirty="0">
                          <a:solidFill>
                            <a:schemeClr val="accent1"/>
                          </a:solidFill>
                        </a:rPr>
                        <a:t>Enfermedad Renal Crónica</a:t>
                      </a:r>
                      <a:endParaRPr lang="es-ES" sz="1200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09238681"/>
                  </a:ext>
                </a:extLst>
              </a:tr>
            </a:tbl>
          </a:graphicData>
        </a:graphic>
      </p:graphicFrame>
      <p:sp>
        <p:nvSpPr>
          <p:cNvPr id="18" name="CuadroTexto 17">
            <a:extLst>
              <a:ext uri="{FF2B5EF4-FFF2-40B4-BE49-F238E27FC236}">
                <a16:creationId xmlns:a16="http://schemas.microsoft.com/office/drawing/2014/main" id="{84327292-A1A0-AA47-E990-15792A645619}"/>
              </a:ext>
            </a:extLst>
          </p:cNvPr>
          <p:cNvSpPr txBox="1"/>
          <p:nvPr/>
        </p:nvSpPr>
        <p:spPr>
          <a:xfrm>
            <a:off x="903671" y="5050936"/>
            <a:ext cx="1367064" cy="44627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ctr">
            <a:spAutoFit/>
          </a:bodyPr>
          <a:lstStyle>
            <a:defPPr>
              <a:defRPr lang="es-ES"/>
            </a:defPPr>
            <a:lvl1pPr marR="0" indent="0" algn="just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accent1"/>
                </a:solidFill>
              </a:defRPr>
            </a:lvl1pPr>
          </a:lstStyle>
          <a:p>
            <a:r>
              <a:rPr lang="es-ES_tradnl" sz="900" b="1" dirty="0"/>
              <a:t>Figura</a:t>
            </a:r>
            <a:r>
              <a:rPr lang="es-ES_tradnl" sz="900" dirty="0"/>
              <a:t>: elaboración propia a partir de: </a:t>
            </a:r>
            <a:r>
              <a:rPr lang="es-ES" sz="1000" b="0" dirty="0"/>
              <a:t>J Clin </a:t>
            </a:r>
            <a:r>
              <a:rPr lang="es-ES" sz="1000" b="0" dirty="0" err="1"/>
              <a:t>Med</a:t>
            </a:r>
            <a:r>
              <a:rPr lang="es-ES" sz="1000" b="0" dirty="0"/>
              <a:t>. 2022 Jul 25;11(15):4314</a:t>
            </a:r>
            <a:endParaRPr lang="es-ES" sz="900" dirty="0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2D8156BC-F6BA-BFEA-81E5-5CF7807D1F26}"/>
              </a:ext>
            </a:extLst>
          </p:cNvPr>
          <p:cNvSpPr txBox="1"/>
          <p:nvPr/>
        </p:nvSpPr>
        <p:spPr>
          <a:xfrm rot="16200000">
            <a:off x="10584462" y="3677419"/>
            <a:ext cx="25370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0</a:t>
            </a:r>
            <a:endParaRPr lang="es-ES" sz="12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3517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145A17-D425-2A91-8FE8-8BD1425B82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CuadroTexto 2">
            <a:extLst>
              <a:ext uri="{FF2B5EF4-FFF2-40B4-BE49-F238E27FC236}">
                <a16:creationId xmlns:a16="http://schemas.microsoft.com/office/drawing/2014/main" id="{FFAD5860-AC31-52EA-EBFB-B34C5E3467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12520" y="6070706"/>
            <a:ext cx="9966960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altLang="es-ES" dirty="0"/>
              <a:t>1. </a:t>
            </a:r>
            <a:r>
              <a:rPr lang="en-US" altLang="es-ES" b="0" dirty="0"/>
              <a:t>Ference BA. et al. Low-density lipoproteins cause atherosclerotic cardiovascular disease. 1. Evidence from genetic, epidemiologic, and clinical studies. A consensus statement from the European Atherosclerosis Society Consensus Panel. </a:t>
            </a:r>
            <a:r>
              <a:rPr lang="en-US" altLang="es-ES" b="0" dirty="0" err="1"/>
              <a:t>Eur</a:t>
            </a:r>
            <a:r>
              <a:rPr lang="en-US" altLang="es-ES" b="0" dirty="0"/>
              <a:t> Heart J. 2017;38(32):2459-72. </a:t>
            </a:r>
            <a:r>
              <a:rPr lang="en-US" altLang="es-ES" dirty="0"/>
              <a:t>2</a:t>
            </a:r>
            <a:r>
              <a:rPr lang="en-US" altLang="es-ES" b="0" dirty="0"/>
              <a:t>. Martin SS, et al. 2025 Heart Disease and Stroke Statistics: A Report of US and Global Data From the American Heart Association. Circulation. 2025 Feb 25;151(8):e41-e660.</a:t>
            </a:r>
            <a:r>
              <a:rPr lang="en-US" altLang="es-ES" dirty="0"/>
              <a:t> 3</a:t>
            </a:r>
            <a:r>
              <a:rPr lang="en-US" altLang="es-ES" b="0" dirty="0"/>
              <a:t>. Holme I, et al, Observed and predicted reduction of ischemic cardiovascular events in the Simvastatin and Ezetimibe in Aortic Stenosis trial. Am J </a:t>
            </a:r>
            <a:r>
              <a:rPr lang="en-US" altLang="es-ES" b="0" dirty="0" err="1"/>
              <a:t>Cardiol</a:t>
            </a:r>
            <a:r>
              <a:rPr lang="en-US" altLang="es-ES" b="0" dirty="0"/>
              <a:t>. 2010 Jun 15;105(12):1802-8. </a:t>
            </a:r>
            <a:r>
              <a:rPr lang="en-US" altLang="es-ES" dirty="0"/>
              <a:t>4</a:t>
            </a:r>
            <a:r>
              <a:rPr lang="en-US" altLang="es-ES" b="0" dirty="0"/>
              <a:t>. Banach et al. 2023: The year in cardiovascular disease - the year of new and prospective lipid lowering therapies. Can we render dyslipidemia a rare disease by 2024? Arch Med Sci 2023; 19 (6): 1602–1615</a:t>
            </a: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2BC5E950-00EB-33F4-A72C-3EFB0BE3DE28}"/>
              </a:ext>
            </a:extLst>
          </p:cNvPr>
          <p:cNvSpPr/>
          <p:nvPr/>
        </p:nvSpPr>
        <p:spPr>
          <a:xfrm>
            <a:off x="692008" y="1377619"/>
            <a:ext cx="5453917" cy="1294373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ES_tradnl" sz="1400" dirty="0">
                <a:solidFill>
                  <a:schemeClr val="accent1"/>
                </a:solidFill>
              </a:rPr>
              <a:t>El LDL-c es, </a:t>
            </a:r>
            <a:r>
              <a:rPr lang="es-ES" sz="1400" dirty="0">
                <a:solidFill>
                  <a:schemeClr val="accent1"/>
                </a:solidFill>
              </a:rPr>
              <a:t>inequívocamente,</a:t>
            </a:r>
            <a:r>
              <a:rPr lang="es-ES_tradnl" sz="1400" dirty="0">
                <a:solidFill>
                  <a:schemeClr val="accent1"/>
                </a:solidFill>
              </a:rPr>
              <a:t> un factor etiológico común y el más importante para el desarrollo de enfermedades cardiovasculares</a:t>
            </a:r>
            <a:r>
              <a:rPr lang="es-ES_tradnl" sz="1400" baseline="30000" dirty="0">
                <a:solidFill>
                  <a:schemeClr val="accent1">
                    <a:lumMod val="75000"/>
                  </a:schemeClr>
                </a:solidFill>
              </a:rPr>
              <a:t>1,2, </a:t>
            </a:r>
            <a:r>
              <a:rPr lang="es-ES_tradnl" sz="1400" dirty="0">
                <a:solidFill>
                  <a:schemeClr val="accent1"/>
                </a:solidFill>
              </a:rPr>
              <a:t>y la reducción de sus niveles disminuye la probabilidad de padecer un evento CV mayor (MACE</a:t>
            </a:r>
            <a:r>
              <a:rPr lang="es-ES_tradnl" sz="1400" dirty="0">
                <a:solidFill>
                  <a:schemeClr val="accent1">
                    <a:lumMod val="75000"/>
                  </a:schemeClr>
                </a:solidFill>
              </a:rPr>
              <a:t>)</a:t>
            </a:r>
            <a:r>
              <a:rPr lang="es-ES_tradnl" sz="1400" baseline="30000" dirty="0">
                <a:solidFill>
                  <a:schemeClr val="accent1">
                    <a:lumMod val="75000"/>
                  </a:schemeClr>
                </a:solidFill>
              </a:rPr>
              <a:t>3</a:t>
            </a:r>
            <a:r>
              <a:rPr lang="es-ES_tradnl" sz="1400" dirty="0">
                <a:solidFill>
                  <a:schemeClr val="accent1">
                    <a:lumMod val="75000"/>
                  </a:schemeClr>
                </a:solidFill>
              </a:rPr>
              <a:t>.  </a:t>
            </a:r>
            <a:endParaRPr lang="es-ES" sz="1400" baseline="30000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4103" name="Grupo 18">
            <a:extLst>
              <a:ext uri="{FF2B5EF4-FFF2-40B4-BE49-F238E27FC236}">
                <a16:creationId xmlns:a16="http://schemas.microsoft.com/office/drawing/2014/main" id="{F10F0025-06CE-A340-E3C2-05AAD0CD6420}"/>
              </a:ext>
            </a:extLst>
          </p:cNvPr>
          <p:cNvGrpSpPr>
            <a:grpSpLocks/>
          </p:cNvGrpSpPr>
          <p:nvPr/>
        </p:nvGrpSpPr>
        <p:grpSpPr bwMode="auto">
          <a:xfrm>
            <a:off x="907305" y="3013538"/>
            <a:ext cx="5034833" cy="2505461"/>
            <a:chOff x="4418620" y="2879620"/>
            <a:chExt cx="5781671" cy="2960688"/>
          </a:xfrm>
        </p:grpSpPr>
        <p:pic>
          <p:nvPicPr>
            <p:cNvPr id="4104" name="Picture 7">
              <a:extLst>
                <a:ext uri="{FF2B5EF4-FFF2-40B4-BE49-F238E27FC236}">
                  <a16:creationId xmlns:a16="http://schemas.microsoft.com/office/drawing/2014/main" id="{231CA4F0-9F60-4796-EB78-E83F71FE3B4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925" t="29640" r="21484" b="6357"/>
            <a:stretch>
              <a:fillRect/>
            </a:stretch>
          </p:blipFill>
          <p:spPr bwMode="auto">
            <a:xfrm>
              <a:off x="4418620" y="2879620"/>
              <a:ext cx="3687762" cy="29606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" name="Rectangle 1054">
              <a:extLst>
                <a:ext uri="{FF2B5EF4-FFF2-40B4-BE49-F238E27FC236}">
                  <a16:creationId xmlns:a16="http://schemas.microsoft.com/office/drawing/2014/main" id="{6448759E-0171-D1E4-009F-AF507721DC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06406" y="2879620"/>
              <a:ext cx="1759188" cy="945614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>
                <a:defRPr/>
              </a:pPr>
              <a:r>
                <a:rPr lang="en-US" altLang="en-US" sz="2000" b="1" dirty="0">
                  <a:solidFill>
                    <a:srgbClr val="000000"/>
                  </a:solidFill>
                  <a:latin typeface="Arial"/>
                  <a:cs typeface="Arial" charset="0"/>
                </a:rPr>
                <a:t>  </a:t>
              </a:r>
              <a:r>
                <a:rPr lang="en-US" altLang="en-US" sz="1600" b="1" dirty="0">
                  <a:solidFill>
                    <a:srgbClr val="000000"/>
                  </a:solidFill>
                  <a:latin typeface="Arial"/>
                  <a:cs typeface="Arial" charset="0"/>
                </a:rPr>
                <a:t>1mmol/L </a:t>
              </a:r>
            </a:p>
            <a:p>
              <a:pPr algn="ctr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  <a:latin typeface="Arial"/>
                  <a:cs typeface="Arial" charset="0"/>
                </a:rPr>
                <a:t>o   38 mg/dL       de LDL-c</a:t>
              </a:r>
              <a:endParaRPr lang="en-US" altLang="en-US" b="1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6" name="Rectangle 1054">
              <a:extLst>
                <a:ext uri="{FF2B5EF4-FFF2-40B4-BE49-F238E27FC236}">
                  <a16:creationId xmlns:a16="http://schemas.microsoft.com/office/drawing/2014/main" id="{08EAFBB0-9327-527C-99D3-B7DD5017C1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06406" y="4967554"/>
              <a:ext cx="1893885" cy="36369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defRPr/>
              </a:pPr>
              <a:r>
                <a:rPr lang="en-US" altLang="en-US" sz="2000" b="1" dirty="0">
                  <a:solidFill>
                    <a:srgbClr val="000000"/>
                  </a:solidFill>
                  <a:latin typeface="Arial"/>
                  <a:cs typeface="Arial" charset="0"/>
                </a:rPr>
                <a:t>  </a:t>
              </a:r>
              <a:r>
                <a:rPr lang="en-US" altLang="en-US" sz="1600" b="1" dirty="0">
                  <a:solidFill>
                    <a:srgbClr val="000000"/>
                  </a:solidFill>
                  <a:latin typeface="Arial"/>
                  <a:cs typeface="Arial" charset="0"/>
                </a:rPr>
                <a:t>21% MACE 4</a:t>
              </a:r>
            </a:p>
          </p:txBody>
        </p:sp>
        <p:cxnSp>
          <p:nvCxnSpPr>
            <p:cNvPr id="17" name="Conector recto de flecha 16">
              <a:extLst>
                <a:ext uri="{FF2B5EF4-FFF2-40B4-BE49-F238E27FC236}">
                  <a16:creationId xmlns:a16="http://schemas.microsoft.com/office/drawing/2014/main" id="{EDCEECFB-23BA-77B9-FBAE-1186ADD865CE}"/>
                </a:ext>
              </a:extLst>
            </p:cNvPr>
            <p:cNvCxnSpPr>
              <a:cxnSpLocks/>
            </p:cNvCxnSpPr>
            <p:nvPr/>
          </p:nvCxnSpPr>
          <p:spPr>
            <a:xfrm>
              <a:off x="8593556" y="2980439"/>
              <a:ext cx="0" cy="290433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ector recto de flecha 17">
              <a:extLst>
                <a:ext uri="{FF2B5EF4-FFF2-40B4-BE49-F238E27FC236}">
                  <a16:creationId xmlns:a16="http://schemas.microsoft.com/office/drawing/2014/main" id="{16CDE471-4138-C6F7-B416-FA48C03F2235}"/>
                </a:ext>
              </a:extLst>
            </p:cNvPr>
            <p:cNvCxnSpPr>
              <a:cxnSpLocks/>
            </p:cNvCxnSpPr>
            <p:nvPr/>
          </p:nvCxnSpPr>
          <p:spPr>
            <a:xfrm>
              <a:off x="8447695" y="5005798"/>
              <a:ext cx="0" cy="284288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CuadroTexto 2">
            <a:extLst>
              <a:ext uri="{FF2B5EF4-FFF2-40B4-BE49-F238E27FC236}">
                <a16:creationId xmlns:a16="http://schemas.microsoft.com/office/drawing/2014/main" id="{9129DD5D-E7A1-FD52-461F-AD8BECC47C76}"/>
              </a:ext>
            </a:extLst>
          </p:cNvPr>
          <p:cNvSpPr txBox="1"/>
          <p:nvPr/>
        </p:nvSpPr>
        <p:spPr>
          <a:xfrm>
            <a:off x="1843392" y="5663580"/>
            <a:ext cx="3571874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s-ES" dirty="0" err="1"/>
              <a:t>Holme</a:t>
            </a:r>
            <a:r>
              <a:rPr lang="es-ES" dirty="0"/>
              <a:t> I, et al, Am J </a:t>
            </a:r>
            <a:r>
              <a:rPr lang="es-ES" dirty="0" err="1"/>
              <a:t>Cardiol</a:t>
            </a:r>
            <a:r>
              <a:rPr lang="es-ES" dirty="0"/>
              <a:t>. 2010 Jun 15;105(12):1802-8. 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6384521F-430A-7D3B-67BC-5BBCEC39466F}"/>
              </a:ext>
            </a:extLst>
          </p:cNvPr>
          <p:cNvSpPr txBox="1">
            <a:spLocks/>
          </p:cNvSpPr>
          <p:nvPr/>
        </p:nvSpPr>
        <p:spPr>
          <a:xfrm>
            <a:off x="394955" y="160786"/>
            <a:ext cx="11473957" cy="467219"/>
          </a:xfrm>
          <a:prstGeom prst="rect">
            <a:avLst/>
          </a:prstGeom>
          <a:solidFill>
            <a:schemeClr val="accent5"/>
          </a:solidFill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dirty="0"/>
              <a:t>Factores de riesgo cardiovascular y su manejo en raza negra:</a:t>
            </a: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D3F5DF2A-2F3C-2B23-1C51-02A9880653E6}"/>
              </a:ext>
            </a:extLst>
          </p:cNvPr>
          <p:cNvSpPr txBox="1">
            <a:spLocks/>
          </p:cNvSpPr>
          <p:nvPr/>
        </p:nvSpPr>
        <p:spPr>
          <a:xfrm>
            <a:off x="394955" y="628006"/>
            <a:ext cx="11473957" cy="51652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lIns="0" tIns="0" rIns="0" bIns="0" rtlCol="0" anchor="ctr">
            <a:normAutofit/>
          </a:bodyPr>
          <a:lstStyle>
            <a:defPPr>
              <a:defRPr lang="es-ES"/>
            </a:defPPr>
            <a:lvl1pPr marR="0" indent="0" defTabSz="91433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/>
              <a:t>Perfil lipídico: Colesterol Total, LDL-c, Triglicéridos, HDL-c y </a:t>
            </a:r>
            <a:r>
              <a:rPr lang="es-ES" dirty="0" err="1"/>
              <a:t>Lp</a:t>
            </a:r>
            <a:r>
              <a:rPr lang="es-ES" dirty="0"/>
              <a:t>(a) 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53E776B4-5C06-CBE6-C7F0-AD910309A812}"/>
              </a:ext>
            </a:extLst>
          </p:cNvPr>
          <p:cNvSpPr txBox="1"/>
          <p:nvPr/>
        </p:nvSpPr>
        <p:spPr>
          <a:xfrm>
            <a:off x="6600825" y="4875637"/>
            <a:ext cx="511745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s-ES" sz="1400" dirty="0"/>
              <a:t>Más recientemente, se ha adoptado el no-HDL-c (CT menos HDL-c) como una métrica clave para evaluar el perfil lipídico. Sin embargo, normalmente se recomienda un panel completo de lípidos (CT, LDL-c, HDL-c y triglicéridos)</a:t>
            </a:r>
            <a:r>
              <a:rPr lang="es-ES" sz="1400" baseline="30000" dirty="0"/>
              <a:t>2</a:t>
            </a:r>
            <a:r>
              <a:rPr lang="es-ES" sz="1400" dirty="0"/>
              <a:t>.</a:t>
            </a:r>
          </a:p>
        </p:txBody>
      </p:sp>
      <p:pic>
        <p:nvPicPr>
          <p:cNvPr id="5" name="Imagen 3">
            <a:extLst>
              <a:ext uri="{FF2B5EF4-FFF2-40B4-BE49-F238E27FC236}">
                <a16:creationId xmlns:a16="http://schemas.microsoft.com/office/drawing/2014/main" id="{AD7C977D-F621-86E5-0136-E94281A179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" t="354" r="194" b="27928"/>
          <a:stretch/>
        </p:blipFill>
        <p:spPr bwMode="auto">
          <a:xfrm>
            <a:off x="6813311" y="2065129"/>
            <a:ext cx="4692480" cy="2351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3CDB00F5-0DBD-6651-2D04-4454E1D50154}"/>
              </a:ext>
            </a:extLst>
          </p:cNvPr>
          <p:cNvSpPr txBox="1"/>
          <p:nvPr/>
        </p:nvSpPr>
        <p:spPr>
          <a:xfrm>
            <a:off x="6756589" y="1448110"/>
            <a:ext cx="4805925" cy="523220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s-ES"/>
            </a:defPPr>
            <a:lvl1pPr algn="ctr">
              <a:defRPr sz="14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s-ES_tradnl" altLang="es-ES" dirty="0"/>
              <a:t>El LDL-c cuanto antes se baje, cuanto más bajo, y cuanto más tiempo bajo mejor</a:t>
            </a:r>
            <a:r>
              <a:rPr lang="es-ES_tradnl" altLang="es-ES" baseline="30000" dirty="0"/>
              <a:t>4</a:t>
            </a:r>
            <a:r>
              <a:rPr lang="es-ES_tradnl" altLang="es-ES" dirty="0"/>
              <a:t>.</a:t>
            </a:r>
            <a:endParaRPr lang="es-ES" altLang="es-ES" dirty="0"/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4067C54A-A9E6-3E2C-F2C8-A506DE613258}"/>
              </a:ext>
            </a:extLst>
          </p:cNvPr>
          <p:cNvSpPr txBox="1"/>
          <p:nvPr/>
        </p:nvSpPr>
        <p:spPr>
          <a:xfrm>
            <a:off x="7309034" y="4479400"/>
            <a:ext cx="3701034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altLang="es-ES" dirty="0"/>
              <a:t>Arch Med Sci 2023; 19 (6): 1602–1615</a:t>
            </a:r>
            <a:endParaRPr lang="es-ES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4C3F60BA-E8DA-3AD9-9C17-18C7E79DB29F}"/>
              </a:ext>
            </a:extLst>
          </p:cNvPr>
          <p:cNvSpPr txBox="1"/>
          <p:nvPr/>
        </p:nvSpPr>
        <p:spPr>
          <a:xfrm>
            <a:off x="242888" y="2599538"/>
            <a:ext cx="609447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400" b="1" i="0" u="none" strike="noStrike" baseline="0">
                <a:solidFill>
                  <a:srgbClr val="000000"/>
                </a:solidFill>
                <a:latin typeface="Akzidenz Grotesk BE Bold"/>
              </a:defRPr>
            </a:lvl1pPr>
          </a:lstStyle>
          <a:p>
            <a:r>
              <a:rPr lang="es-ES" dirty="0"/>
              <a:t>Disminución de los eventos CV por 1 mmol/L disminución de LDL-c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3DCF1F1E-63F0-F62A-C076-197C45D9B297}"/>
              </a:ext>
            </a:extLst>
          </p:cNvPr>
          <p:cNvSpPr txBox="1"/>
          <p:nvPr/>
        </p:nvSpPr>
        <p:spPr>
          <a:xfrm rot="16200000">
            <a:off x="10584462" y="3677419"/>
            <a:ext cx="25370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0</a:t>
            </a:r>
            <a:endParaRPr lang="es-ES" sz="12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4031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8E9CC5FB-F305-6321-A840-718C257E2CB5}"/>
              </a:ext>
            </a:extLst>
          </p:cNvPr>
          <p:cNvSpPr txBox="1"/>
          <p:nvPr/>
        </p:nvSpPr>
        <p:spPr>
          <a:xfrm>
            <a:off x="490648" y="1641918"/>
            <a:ext cx="771037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>
                <a:solidFill>
                  <a:schemeClr val="accent1"/>
                </a:solidFill>
              </a:defRPr>
            </a:lvl1pPr>
          </a:lstStyle>
          <a:p>
            <a:pPr algn="just"/>
            <a:r>
              <a:rPr lang="es-ES" dirty="0"/>
              <a:t>La lipoproteína(a), una partícula de LDL con una apolipoproteína(a) añadida, es un factor determinado genéticamente y relacionado causalmente con la enfermedad cardiovascular aterosclerótica (ECVA)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1FF009F0-6312-F14D-0944-8657B9E93692}"/>
              </a:ext>
            </a:extLst>
          </p:cNvPr>
          <p:cNvSpPr txBox="1">
            <a:spLocks/>
          </p:cNvSpPr>
          <p:nvPr/>
        </p:nvSpPr>
        <p:spPr>
          <a:xfrm>
            <a:off x="394955" y="160786"/>
            <a:ext cx="11473957" cy="467219"/>
          </a:xfrm>
          <a:prstGeom prst="rect">
            <a:avLst/>
          </a:prstGeom>
          <a:solidFill>
            <a:schemeClr val="accent5"/>
          </a:solidFill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dirty="0"/>
              <a:t>Factores de riesgo cardiovascular y su manejo en raza negra: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82990134-DFFC-2B02-931D-FB102E075132}"/>
              </a:ext>
            </a:extLst>
          </p:cNvPr>
          <p:cNvSpPr txBox="1">
            <a:spLocks/>
          </p:cNvSpPr>
          <p:nvPr/>
        </p:nvSpPr>
        <p:spPr>
          <a:xfrm>
            <a:off x="394955" y="628006"/>
            <a:ext cx="11473957" cy="51652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lIns="0" tIns="0" rIns="0" bIns="0" rtlCol="0" anchor="ctr">
            <a:normAutofit/>
          </a:bodyPr>
          <a:lstStyle>
            <a:defPPr>
              <a:defRPr lang="es-ES"/>
            </a:defPPr>
            <a:lvl1pPr marR="0" indent="0" defTabSz="91433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/>
              <a:t>Perfil lipídico: Colesterol Total, LDL-c, Triglicéridos, HDL-c y </a:t>
            </a:r>
            <a:r>
              <a:rPr lang="es-ES" dirty="0" err="1"/>
              <a:t>Lp</a:t>
            </a:r>
            <a:r>
              <a:rPr lang="es-ES" dirty="0"/>
              <a:t>(a) 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CF2EBA86-14A2-7561-12A8-32C5BF07EA50}"/>
              </a:ext>
            </a:extLst>
          </p:cNvPr>
          <p:cNvSpPr txBox="1"/>
          <p:nvPr/>
        </p:nvSpPr>
        <p:spPr>
          <a:xfrm>
            <a:off x="932634" y="5768329"/>
            <a:ext cx="994410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b="1" dirty="0"/>
              <a:t>1</a:t>
            </a:r>
            <a:r>
              <a:rPr lang="en-US" dirty="0"/>
              <a:t>. Martin SS, et al. 2025 Heart Disease and Stroke Statistics: A Report of US and Global Data From the American Heart Association. Circulation. 2025 Feb 25;151(8):e41-e660. </a:t>
            </a:r>
            <a:r>
              <a:rPr lang="pt-BR" b="1" dirty="0"/>
              <a:t>2</a:t>
            </a:r>
            <a:r>
              <a:rPr lang="pt-BR" dirty="0"/>
              <a:t>. </a:t>
            </a:r>
            <a:r>
              <a:rPr lang="pt-BR" dirty="0" err="1"/>
              <a:t>Björnson</a:t>
            </a:r>
            <a:r>
              <a:rPr lang="pt-BR" dirty="0"/>
              <a:t> E, et al. </a:t>
            </a:r>
            <a:r>
              <a:rPr lang="en-US" dirty="0"/>
              <a:t>Lipoprotein(a) Is Markedly More Atherogenic Than LDL: An Apolipoprotein B-Based Genetic Analysis. JACC. 2024 Jan, 83 (3) 385–395. </a:t>
            </a:r>
            <a:r>
              <a:rPr lang="en-US" b="1" dirty="0"/>
              <a:t>3</a:t>
            </a:r>
            <a:r>
              <a:rPr lang="en-US" dirty="0"/>
              <a:t>. </a:t>
            </a:r>
            <a:r>
              <a:rPr lang="es-ES" dirty="0"/>
              <a:t>Mach F. et at, Guía ESC/EAS 2019 sobre el tratamiento de las dislipemias: modificación de los lípidos para reducir el riesgo cardiovascular. </a:t>
            </a:r>
            <a:r>
              <a:rPr lang="es-ES" dirty="0" err="1"/>
              <a:t>Rev</a:t>
            </a:r>
            <a:r>
              <a:rPr lang="es-ES" dirty="0"/>
              <a:t> </a:t>
            </a:r>
            <a:r>
              <a:rPr lang="es-ES" dirty="0" err="1"/>
              <a:t>Esp</a:t>
            </a:r>
            <a:r>
              <a:rPr lang="es-ES" dirty="0"/>
              <a:t> </a:t>
            </a:r>
            <a:r>
              <a:rPr lang="es-ES" dirty="0" err="1"/>
              <a:t>Cardiol</a:t>
            </a:r>
            <a:r>
              <a:rPr lang="es-ES" dirty="0"/>
              <a:t>. 2020;73(5):403.e1–403.e70.</a:t>
            </a: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E73F2F1A-C8D7-3B6A-CA2D-45D1D4BDAF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22077" y="1486810"/>
            <a:ext cx="2963603" cy="3691375"/>
          </a:xfrm>
          <a:prstGeom prst="rect">
            <a:avLst/>
          </a:prstGeom>
        </p:spPr>
      </p:pic>
      <p:sp>
        <p:nvSpPr>
          <p:cNvPr id="19" name="CuadroTexto 18">
            <a:extLst>
              <a:ext uri="{FF2B5EF4-FFF2-40B4-BE49-F238E27FC236}">
                <a16:creationId xmlns:a16="http://schemas.microsoft.com/office/drawing/2014/main" id="{623E7475-D794-8BFD-9D38-F20F6A9D1745}"/>
              </a:ext>
            </a:extLst>
          </p:cNvPr>
          <p:cNvSpPr txBox="1"/>
          <p:nvPr/>
        </p:nvSpPr>
        <p:spPr>
          <a:xfrm>
            <a:off x="454762" y="2788775"/>
            <a:ext cx="774481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>
                <a:solidFill>
                  <a:schemeClr val="accent1"/>
                </a:solidFill>
              </a:defRPr>
            </a:lvl1pPr>
          </a:lstStyle>
          <a:p>
            <a:pPr algn="just"/>
            <a:r>
              <a:rPr lang="es-ES" dirty="0"/>
              <a:t>Aunque en la mayoría de las personas, las partículas de LDL son mucho más abundantes que la </a:t>
            </a:r>
            <a:r>
              <a:rPr lang="es-ES" dirty="0" err="1"/>
              <a:t>Lp</a:t>
            </a:r>
            <a:r>
              <a:rPr lang="es-ES" dirty="0"/>
              <a:t>(a) y conllevan la mayor proporción de riesgo CV general, la </a:t>
            </a:r>
            <a:r>
              <a:rPr lang="es-ES" dirty="0" err="1"/>
              <a:t>Lp</a:t>
            </a:r>
            <a:r>
              <a:rPr lang="es-ES" dirty="0"/>
              <a:t>(a) es aprox. 6 veces más </a:t>
            </a:r>
            <a:r>
              <a:rPr lang="es-ES" dirty="0" err="1"/>
              <a:t>aterogénica</a:t>
            </a:r>
            <a:r>
              <a:rPr lang="es-ES" dirty="0"/>
              <a:t> que el LDL</a:t>
            </a:r>
            <a:r>
              <a:rPr lang="es-ES" baseline="30000" dirty="0"/>
              <a:t>2</a:t>
            </a:r>
            <a:r>
              <a:rPr lang="es-ES" dirty="0"/>
              <a:t>. 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4D7D729D-81C1-3221-6109-854F921FA72D}"/>
              </a:ext>
            </a:extLst>
          </p:cNvPr>
          <p:cNvSpPr txBox="1"/>
          <p:nvPr/>
        </p:nvSpPr>
        <p:spPr>
          <a:xfrm>
            <a:off x="8799812" y="5263468"/>
            <a:ext cx="2785868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  <a:effectLst/>
              </a:defRPr>
            </a:lvl1pPr>
          </a:lstStyle>
          <a:p>
            <a:pPr algn="l"/>
            <a:r>
              <a:rPr lang="es-ES" dirty="0" err="1"/>
              <a:t>Björnson</a:t>
            </a:r>
            <a:r>
              <a:rPr lang="es-ES" dirty="0"/>
              <a:t> E, et al. </a:t>
            </a:r>
            <a:r>
              <a:rPr lang="en-US" dirty="0"/>
              <a:t>JACC. 2024 Jan, 83 (3) 385–395</a:t>
            </a:r>
            <a:endParaRPr lang="es-ES" dirty="0"/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0FC17BAE-3742-8A64-674F-99B2FC9C6907}"/>
              </a:ext>
            </a:extLst>
          </p:cNvPr>
          <p:cNvSpPr txBox="1"/>
          <p:nvPr/>
        </p:nvSpPr>
        <p:spPr>
          <a:xfrm>
            <a:off x="454761" y="4023733"/>
            <a:ext cx="774481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>
                <a:solidFill>
                  <a:schemeClr val="accent1"/>
                </a:solidFill>
              </a:defRPr>
            </a:lvl1pPr>
          </a:lstStyle>
          <a:p>
            <a:pPr algn="just"/>
            <a:r>
              <a:rPr lang="es-ES" dirty="0"/>
              <a:t>Se debe considerar la cuantificación de </a:t>
            </a:r>
            <a:r>
              <a:rPr lang="es-ES" dirty="0" err="1"/>
              <a:t>Lp</a:t>
            </a:r>
            <a:r>
              <a:rPr lang="es-ES" dirty="0"/>
              <a:t>(a) al menos una vez en la vida de una persona adulta para identificar a los individuos con una concentración de </a:t>
            </a:r>
            <a:r>
              <a:rPr lang="es-ES" dirty="0" err="1"/>
              <a:t>Lp</a:t>
            </a:r>
            <a:r>
              <a:rPr lang="es-ES" dirty="0"/>
              <a:t>(a) heredada &gt; 180 mg/dl que pueden tener un riesgo vitalicio de ECVAS equivalente al riesgo de la HF heterocigótica</a:t>
            </a:r>
            <a:r>
              <a:rPr lang="es-ES" baseline="30000" dirty="0"/>
              <a:t>3</a:t>
            </a:r>
            <a:r>
              <a:rPr lang="es-ES" dirty="0"/>
              <a:t>.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C9385308-9AAD-8F85-59DE-708099256291}"/>
              </a:ext>
            </a:extLst>
          </p:cNvPr>
          <p:cNvSpPr txBox="1"/>
          <p:nvPr/>
        </p:nvSpPr>
        <p:spPr>
          <a:xfrm>
            <a:off x="10831015" y="1597290"/>
            <a:ext cx="553266" cy="2564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b="1" baseline="30000" dirty="0">
                <a:solidFill>
                  <a:schemeClr val="bg2"/>
                </a:solidFill>
                <a:latin typeface="Akzidenz Grotesk BE Bold"/>
              </a:rPr>
              <a:t>2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39665145-EB64-52AC-8215-F5FDC21D9FAF}"/>
              </a:ext>
            </a:extLst>
          </p:cNvPr>
          <p:cNvSpPr txBox="1"/>
          <p:nvPr/>
        </p:nvSpPr>
        <p:spPr>
          <a:xfrm rot="16200000">
            <a:off x="10584462" y="3677419"/>
            <a:ext cx="25370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0</a:t>
            </a:r>
            <a:endParaRPr lang="es-ES" sz="12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8907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410E301-E0CE-0E38-8D94-7386511AD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955" y="160786"/>
            <a:ext cx="11473957" cy="467219"/>
          </a:xfrm>
          <a:solidFill>
            <a:schemeClr val="accent5"/>
          </a:solidFill>
        </p:spPr>
        <p:txBody>
          <a:bodyPr vert="horz" lIns="0" tIns="0" rIns="0" bIns="0" rtlCol="0" anchor="ctr">
            <a:normAutofit/>
          </a:bodyPr>
          <a:lstStyle/>
          <a:p>
            <a:r>
              <a:rPr lang="en-US" sz="2400" dirty="0" err="1"/>
              <a:t>Factores</a:t>
            </a:r>
            <a:r>
              <a:rPr lang="en-US" sz="2400" dirty="0"/>
              <a:t> de </a:t>
            </a:r>
            <a:r>
              <a:rPr lang="en-US" sz="2400" dirty="0" err="1"/>
              <a:t>riesgo</a:t>
            </a:r>
            <a:r>
              <a:rPr lang="en-US" sz="2400" dirty="0"/>
              <a:t> cardiovascular </a:t>
            </a:r>
            <a:r>
              <a:rPr lang="es-ES" sz="2400" dirty="0"/>
              <a:t>y su manejo en raza negra</a:t>
            </a:r>
            <a:r>
              <a:rPr lang="en-US" sz="2400" dirty="0"/>
              <a:t>:</a:t>
            </a:r>
            <a:endParaRPr lang="es-ES" sz="2400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30BC88CE-A936-1422-0506-7C370E0D378B}"/>
              </a:ext>
            </a:extLst>
          </p:cNvPr>
          <p:cNvSpPr txBox="1"/>
          <p:nvPr/>
        </p:nvSpPr>
        <p:spPr>
          <a:xfrm>
            <a:off x="299755" y="3023125"/>
            <a:ext cx="6338787" cy="273921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s-ES" sz="1600" b="1" dirty="0">
                <a:solidFill>
                  <a:schemeClr val="accent1"/>
                </a:solidFill>
              </a:rPr>
              <a:t>Lipoproteína (a)</a:t>
            </a:r>
            <a:r>
              <a:rPr lang="es-ES" sz="1600" dirty="0">
                <a:solidFill>
                  <a:schemeClr val="accent1"/>
                </a:solidFill>
              </a:rPr>
              <a:t>: </a:t>
            </a:r>
          </a:p>
          <a:p>
            <a:pPr algn="just"/>
            <a:endParaRPr lang="es-ES" sz="1600" dirty="0">
              <a:solidFill>
                <a:schemeClr val="accent1"/>
              </a:solidFill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Tienen </a:t>
            </a:r>
            <a:r>
              <a:rPr lang="en-US" sz="1400" dirty="0" err="1">
                <a:solidFill>
                  <a:schemeClr val="accent1"/>
                </a:solidFill>
              </a:rPr>
              <a:t>los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s-ES" sz="1400" dirty="0">
                <a:solidFill>
                  <a:schemeClr val="accent1"/>
                </a:solidFill>
              </a:rPr>
              <a:t>niveles más altos de </a:t>
            </a:r>
            <a:r>
              <a:rPr lang="es-ES" sz="1400" dirty="0" err="1">
                <a:solidFill>
                  <a:schemeClr val="accent1"/>
                </a:solidFill>
              </a:rPr>
              <a:t>Lp</a:t>
            </a:r>
            <a:r>
              <a:rPr lang="es-ES" sz="1400" dirty="0">
                <a:solidFill>
                  <a:schemeClr val="accent1"/>
                </a:solidFill>
              </a:rPr>
              <a:t>(a) (</a:t>
            </a:r>
            <a:r>
              <a:rPr lang="en-US" sz="1400" dirty="0">
                <a:solidFill>
                  <a:schemeClr val="accent1"/>
                </a:solidFill>
              </a:rPr>
              <a:t>75</a:t>
            </a:r>
            <a:r>
              <a:rPr lang="es-ES" sz="1400" dirty="0">
                <a:solidFill>
                  <a:schemeClr val="accent1"/>
                </a:solidFill>
              </a:rPr>
              <a:t> nmol/L vs </a:t>
            </a:r>
            <a:r>
              <a:rPr lang="en-US" sz="1400" dirty="0">
                <a:solidFill>
                  <a:schemeClr val="accent1"/>
                </a:solidFill>
              </a:rPr>
              <a:t>19, 31 y 16 nmol/L </a:t>
            </a:r>
            <a:r>
              <a:rPr lang="en-US" sz="1400" dirty="0" err="1">
                <a:solidFill>
                  <a:schemeClr val="accent1"/>
                </a:solidFill>
              </a:rPr>
              <a:t>en</a:t>
            </a:r>
            <a:r>
              <a:rPr lang="en-US" sz="1400" dirty="0">
                <a:solidFill>
                  <a:schemeClr val="accent1"/>
                </a:solidFill>
              </a:rPr>
              <a:t> Blancos, Sur-</a:t>
            </a:r>
            <a:r>
              <a:rPr lang="en-US" sz="1400" dirty="0" err="1">
                <a:solidFill>
                  <a:schemeClr val="accent1"/>
                </a:solidFill>
              </a:rPr>
              <a:t>Asiáticos</a:t>
            </a:r>
            <a:r>
              <a:rPr lang="en-US" sz="1400" dirty="0">
                <a:solidFill>
                  <a:schemeClr val="accent1"/>
                </a:solidFill>
              </a:rPr>
              <a:t> y Chinos)</a:t>
            </a:r>
            <a:r>
              <a:rPr lang="es-ES" sz="1400" baseline="30000" dirty="0">
                <a:solidFill>
                  <a:schemeClr val="accent1"/>
                </a:solidFill>
              </a:rPr>
              <a:t>1</a:t>
            </a:r>
            <a:r>
              <a:rPr lang="en-US" sz="1400" dirty="0">
                <a:solidFill>
                  <a:schemeClr val="accent1"/>
                </a:solidFill>
              </a:rPr>
              <a:t>. 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accent1"/>
              </a:solidFill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La p</a:t>
            </a:r>
            <a:r>
              <a:rPr lang="es-ES" sz="1400" dirty="0" err="1">
                <a:solidFill>
                  <a:schemeClr val="accent1"/>
                </a:solidFill>
              </a:rPr>
              <a:t>roporción</a:t>
            </a:r>
            <a:r>
              <a:rPr lang="es-ES" sz="1400" dirty="0">
                <a:solidFill>
                  <a:schemeClr val="accent1"/>
                </a:solidFill>
              </a:rPr>
              <a:t> de </a:t>
            </a:r>
            <a:r>
              <a:rPr lang="es-ES" sz="1400" dirty="0" err="1">
                <a:solidFill>
                  <a:schemeClr val="accent1"/>
                </a:solidFill>
              </a:rPr>
              <a:t>Lp</a:t>
            </a:r>
            <a:r>
              <a:rPr lang="es-ES" sz="1400" dirty="0">
                <a:solidFill>
                  <a:schemeClr val="accent1"/>
                </a:solidFill>
              </a:rPr>
              <a:t>(a) &gt;50 mg/</a:t>
            </a:r>
            <a:r>
              <a:rPr lang="es-ES" sz="1400" dirty="0" err="1">
                <a:solidFill>
                  <a:schemeClr val="accent1"/>
                </a:solidFill>
              </a:rPr>
              <a:t>dL</a:t>
            </a:r>
            <a:r>
              <a:rPr lang="es-ES" sz="1400" dirty="0">
                <a:solidFill>
                  <a:schemeClr val="accent1"/>
                </a:solidFill>
              </a:rPr>
              <a:t> es 27% en </a:t>
            </a:r>
            <a:r>
              <a:rPr lang="es-ES" sz="1400" dirty="0" err="1">
                <a:solidFill>
                  <a:schemeClr val="accent1"/>
                </a:solidFill>
              </a:rPr>
              <a:t>Africa</a:t>
            </a:r>
            <a:r>
              <a:rPr lang="es-ES" sz="1400" dirty="0">
                <a:solidFill>
                  <a:schemeClr val="accent1"/>
                </a:solidFill>
              </a:rPr>
              <a:t> según el estudio INTERHEART (el más alto)</a:t>
            </a:r>
            <a:r>
              <a:rPr lang="es-ES" sz="1400" baseline="30000" dirty="0">
                <a:solidFill>
                  <a:schemeClr val="accent1"/>
                </a:solidFill>
              </a:rPr>
              <a:t>1</a:t>
            </a:r>
            <a:r>
              <a:rPr lang="es-ES" sz="1400" dirty="0">
                <a:solidFill>
                  <a:schemeClr val="accent1"/>
                </a:solidFill>
              </a:rPr>
              <a:t>. 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es-ES" sz="1400" dirty="0">
              <a:solidFill>
                <a:schemeClr val="accent1"/>
              </a:solidFill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La heredabilidad genética de la </a:t>
            </a:r>
            <a:r>
              <a:rPr lang="es-ES" sz="1400" dirty="0" err="1">
                <a:solidFill>
                  <a:schemeClr val="accent1"/>
                </a:solidFill>
              </a:rPr>
              <a:t>Lp</a:t>
            </a:r>
            <a:r>
              <a:rPr lang="es-ES" sz="1400" dirty="0">
                <a:solidFill>
                  <a:schemeClr val="accent1"/>
                </a:solidFill>
              </a:rPr>
              <a:t>(a) es del 85% en individuos negros y del 75% en individuos europeos</a:t>
            </a:r>
            <a:r>
              <a:rPr lang="es-ES" sz="1400" baseline="30000" dirty="0">
                <a:solidFill>
                  <a:schemeClr val="accent1"/>
                </a:solidFill>
              </a:rPr>
              <a:t>1</a:t>
            </a:r>
            <a:r>
              <a:rPr lang="es-ES" sz="1400" dirty="0">
                <a:solidFill>
                  <a:schemeClr val="accent1"/>
                </a:solidFill>
              </a:rPr>
              <a:t>.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es-ES" sz="1400" dirty="0">
              <a:solidFill>
                <a:schemeClr val="accent1"/>
              </a:solidFill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Las tasas de pruebas para la </a:t>
            </a:r>
            <a:r>
              <a:rPr lang="es-ES" sz="1400" dirty="0" err="1">
                <a:solidFill>
                  <a:schemeClr val="accent1"/>
                </a:solidFill>
              </a:rPr>
              <a:t>Lp</a:t>
            </a:r>
            <a:r>
              <a:rPr lang="es-ES" sz="1400" dirty="0">
                <a:solidFill>
                  <a:schemeClr val="accent1"/>
                </a:solidFill>
              </a:rPr>
              <a:t>(a) son más bajas en raza negra</a:t>
            </a:r>
            <a:r>
              <a:rPr lang="es-ES" sz="1400" baseline="30000" dirty="0">
                <a:solidFill>
                  <a:schemeClr val="accent1"/>
                </a:solidFill>
              </a:rPr>
              <a:t>1</a:t>
            </a:r>
            <a:r>
              <a:rPr lang="es-ES" sz="1400" dirty="0">
                <a:solidFill>
                  <a:schemeClr val="accent1"/>
                </a:solidFill>
              </a:rPr>
              <a:t>.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B3434F15-2FF3-50D6-209B-517222F262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49235" y="2726099"/>
            <a:ext cx="4669020" cy="3085614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5B88DC91-D62D-27FB-2B07-CD0B7A1A2A70}"/>
              </a:ext>
            </a:extLst>
          </p:cNvPr>
          <p:cNvSpPr txBox="1"/>
          <p:nvPr/>
        </p:nvSpPr>
        <p:spPr>
          <a:xfrm>
            <a:off x="2349126" y="6229994"/>
            <a:ext cx="8204574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b="1" dirty="0"/>
              <a:t>1</a:t>
            </a:r>
            <a:r>
              <a:rPr lang="en-US" dirty="0"/>
              <a:t>. Martin SS, et al. 2025 Heart Disease and Stroke Statistics: A Report of US and Global Data From the American Heart Association. </a:t>
            </a:r>
            <a:r>
              <a:rPr lang="pt-BR" dirty="0" err="1"/>
              <a:t>Circulation</a:t>
            </a:r>
            <a:r>
              <a:rPr lang="pt-BR" dirty="0"/>
              <a:t>. 2025 </a:t>
            </a:r>
            <a:r>
              <a:rPr lang="pt-BR" dirty="0" err="1"/>
              <a:t>Feb</a:t>
            </a:r>
            <a:r>
              <a:rPr lang="pt-BR" dirty="0"/>
              <a:t> 25;151(8):e41-e660</a:t>
            </a:r>
            <a:endParaRPr lang="es-ES" dirty="0"/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73BD133B-C9A7-37FD-FC07-DD046F9A4AD4}"/>
              </a:ext>
            </a:extLst>
          </p:cNvPr>
          <p:cNvSpPr txBox="1"/>
          <p:nvPr/>
        </p:nvSpPr>
        <p:spPr>
          <a:xfrm>
            <a:off x="299756" y="1378407"/>
            <a:ext cx="1131850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" sz="1600" dirty="0">
                <a:solidFill>
                  <a:schemeClr val="accent1"/>
                </a:solidFill>
              </a:rPr>
              <a:t>En comparación con otras etnicidades/razas, el perfil lipídico de las personas de raza negra no-Hispánicos es el siguiente: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B0C364D8-FD47-F90C-85D1-2341114E6708}"/>
              </a:ext>
            </a:extLst>
          </p:cNvPr>
          <p:cNvSpPr txBox="1"/>
          <p:nvPr/>
        </p:nvSpPr>
        <p:spPr>
          <a:xfrm>
            <a:off x="299755" y="2027166"/>
            <a:ext cx="6338786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s-ES" sz="1400" dirty="0">
                <a:solidFill>
                  <a:schemeClr val="accent1"/>
                </a:solidFill>
              </a:rPr>
              <a:t>Tienen los</a:t>
            </a:r>
            <a:r>
              <a:rPr lang="es-ES" sz="1400" b="1" dirty="0">
                <a:solidFill>
                  <a:schemeClr val="accent1"/>
                </a:solidFill>
              </a:rPr>
              <a:t> </a:t>
            </a:r>
            <a:r>
              <a:rPr lang="es-ES" sz="1400" dirty="0">
                <a:solidFill>
                  <a:schemeClr val="accent1"/>
                </a:solidFill>
              </a:rPr>
              <a:t>niveles más bajos de colesterol</a:t>
            </a:r>
            <a:r>
              <a:rPr lang="en-US" sz="1400" dirty="0">
                <a:solidFill>
                  <a:schemeClr val="accent1"/>
                </a:solidFill>
              </a:rPr>
              <a:t> total (CT), LDL-c y </a:t>
            </a:r>
            <a:r>
              <a:rPr lang="en-US" sz="1400" dirty="0" err="1">
                <a:solidFill>
                  <a:schemeClr val="accent1"/>
                </a:solidFill>
              </a:rPr>
              <a:t>triglicéridos</a:t>
            </a:r>
            <a:r>
              <a:rPr lang="en-US" sz="1400" dirty="0">
                <a:solidFill>
                  <a:schemeClr val="accent1"/>
                </a:solidFill>
              </a:rPr>
              <a:t> (TGs) y</a:t>
            </a:r>
            <a:r>
              <a:rPr lang="en-US" sz="1400" b="1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los</a:t>
            </a:r>
            <a:r>
              <a:rPr lang="en-US" sz="1400" b="1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niveles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más</a:t>
            </a:r>
            <a:r>
              <a:rPr lang="en-US" sz="1400" dirty="0">
                <a:solidFill>
                  <a:schemeClr val="accent1"/>
                </a:solidFill>
              </a:rPr>
              <a:t> altos de </a:t>
            </a:r>
            <a:r>
              <a:rPr lang="es-ES" sz="1400" dirty="0">
                <a:solidFill>
                  <a:schemeClr val="accent1"/>
                </a:solidFill>
              </a:rPr>
              <a:t>HDL-c en hombres (mujeres comparables con otras razas)</a:t>
            </a:r>
            <a:r>
              <a:rPr lang="es-ES" sz="1400" baseline="30000" dirty="0">
                <a:solidFill>
                  <a:schemeClr val="accent1"/>
                </a:solidFill>
              </a:rPr>
              <a:t>1</a:t>
            </a:r>
            <a:r>
              <a:rPr lang="es-ES" sz="1400" dirty="0">
                <a:solidFill>
                  <a:schemeClr val="accent1"/>
                </a:solidFill>
              </a:rPr>
              <a:t>. 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7B2EDBDF-4F08-758E-E9F7-E3F26572A753}"/>
              </a:ext>
            </a:extLst>
          </p:cNvPr>
          <p:cNvSpPr txBox="1"/>
          <p:nvPr/>
        </p:nvSpPr>
        <p:spPr>
          <a:xfrm>
            <a:off x="6856089" y="2065875"/>
            <a:ext cx="485531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b="1" i="0" u="none" strike="noStrike" baseline="0" dirty="0">
                <a:solidFill>
                  <a:srgbClr val="000000"/>
                </a:solidFill>
                <a:latin typeface="Akzidenz Grotesk BE Bold"/>
              </a:rPr>
              <a:t>Tendencias ajustadas por edad en el CT medio entre los adultos </a:t>
            </a:r>
            <a:r>
              <a:rPr lang="es-ES" sz="1400" b="1" i="0" u="none" strike="noStrike" baseline="0" dirty="0" err="1">
                <a:solidFill>
                  <a:srgbClr val="000000"/>
                </a:solidFill>
                <a:latin typeface="Akzidenz Grotesk BE Bold"/>
              </a:rPr>
              <a:t>EE.UUs</a:t>
            </a:r>
            <a:r>
              <a:rPr lang="es-ES" sz="1400" b="1" i="0" u="none" strike="noStrike" baseline="0" dirty="0">
                <a:solidFill>
                  <a:srgbClr val="000000"/>
                </a:solidFill>
                <a:latin typeface="Akzidenz Grotesk BE Bold"/>
              </a:rPr>
              <a:t> de ≥ 20 años de edad, por raza y año de encuesta</a:t>
            </a:r>
            <a:r>
              <a:rPr lang="es-ES" sz="1400" b="1" baseline="30000" dirty="0">
                <a:solidFill>
                  <a:srgbClr val="000000"/>
                </a:solidFill>
                <a:latin typeface="Akzidenz Grotesk BE Bold"/>
              </a:rPr>
              <a:t>1</a:t>
            </a:r>
          </a:p>
        </p:txBody>
      </p:sp>
      <p:sp>
        <p:nvSpPr>
          <p:cNvPr id="20" name="Título 1">
            <a:extLst>
              <a:ext uri="{FF2B5EF4-FFF2-40B4-BE49-F238E27FC236}">
                <a16:creationId xmlns:a16="http://schemas.microsoft.com/office/drawing/2014/main" id="{4356CEAC-EE86-335E-FB09-3A6632E3E480}"/>
              </a:ext>
            </a:extLst>
          </p:cNvPr>
          <p:cNvSpPr txBox="1">
            <a:spLocks/>
          </p:cNvSpPr>
          <p:nvPr/>
        </p:nvSpPr>
        <p:spPr>
          <a:xfrm>
            <a:off x="394955" y="628006"/>
            <a:ext cx="11473957" cy="51652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lIns="0" tIns="0" rIns="0" bIns="0" rtlCol="0" anchor="ctr">
            <a:normAutofit/>
          </a:bodyPr>
          <a:lstStyle>
            <a:defPPr>
              <a:defRPr lang="es-ES"/>
            </a:defPPr>
            <a:lvl1pPr marR="0" indent="0" defTabSz="91433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/>
              <a:t>Perfil lipídico: Colesterol Total, LDL-c, Triglicéridos, HDL-c y </a:t>
            </a:r>
            <a:r>
              <a:rPr lang="es-ES" dirty="0" err="1"/>
              <a:t>Lp</a:t>
            </a:r>
            <a:r>
              <a:rPr lang="es-ES" dirty="0"/>
              <a:t>(a) 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794A9F9B-1181-5316-5BBE-AE1E3A17BABC}"/>
              </a:ext>
            </a:extLst>
          </p:cNvPr>
          <p:cNvSpPr txBox="1"/>
          <p:nvPr/>
        </p:nvSpPr>
        <p:spPr>
          <a:xfrm>
            <a:off x="7029449" y="5764051"/>
            <a:ext cx="458880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0" i="1">
                <a:solidFill>
                  <a:schemeClr val="accent1"/>
                </a:solidFill>
                <a:effectLst/>
              </a:defRPr>
            </a:lvl1pPr>
          </a:lstStyle>
          <a:p>
            <a:r>
              <a:rPr lang="pt-BR" b="1"/>
              <a:t>Circulation</a:t>
            </a:r>
            <a:r>
              <a:rPr lang="pt-BR" b="1" dirty="0"/>
              <a:t>. </a:t>
            </a:r>
            <a:r>
              <a:rPr lang="pt-BR" b="1"/>
              <a:t>2025 Feb</a:t>
            </a:r>
            <a:r>
              <a:rPr lang="pt-BR" b="1" dirty="0"/>
              <a:t> 25;151(8):e41-e660</a:t>
            </a:r>
            <a:endParaRPr lang="es-ES" b="1" dirty="0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E828EFCE-565B-24BF-0D19-6CBFDC75523D}"/>
              </a:ext>
            </a:extLst>
          </p:cNvPr>
          <p:cNvSpPr txBox="1"/>
          <p:nvPr/>
        </p:nvSpPr>
        <p:spPr>
          <a:xfrm rot="16200000">
            <a:off x="10584462" y="3677419"/>
            <a:ext cx="25370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0</a:t>
            </a:r>
            <a:endParaRPr lang="es-ES" sz="12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7156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mVjdrrSGu2ERapmnkXfQ"/>
</p:tagLst>
</file>

<file path=ppt/theme/theme1.xml><?xml version="1.0" encoding="utf-8"?>
<a:theme xmlns:a="http://schemas.openxmlformats.org/drawingml/2006/main" name="Tema1">
  <a:themeElements>
    <a:clrScheme name="ALM_AW_PPT COLORS">
      <a:dk1>
        <a:srgbClr val="6F6F6F"/>
      </a:dk1>
      <a:lt1>
        <a:srgbClr val="FFFFFF"/>
      </a:lt1>
      <a:dk2>
        <a:srgbClr val="FFFFFF"/>
      </a:dk2>
      <a:lt2>
        <a:srgbClr val="FFFFFF"/>
      </a:lt2>
      <a:accent1>
        <a:srgbClr val="002855"/>
      </a:accent1>
      <a:accent2>
        <a:srgbClr val="00F0BE"/>
      </a:accent2>
      <a:accent3>
        <a:srgbClr val="00596E"/>
      </a:accent3>
      <a:accent4>
        <a:srgbClr val="008C93"/>
      </a:accent4>
      <a:accent5>
        <a:srgbClr val="00BEA0"/>
      </a:accent5>
      <a:accent6>
        <a:srgbClr val="8700D3"/>
      </a:accent6>
      <a:hlink>
        <a:srgbClr val="8700D3"/>
      </a:hlink>
      <a:folHlink>
        <a:srgbClr val="8700D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a1" id="{4619596D-86AE-4C4A-956C-F8F3849881EF}" vid="{52E38F20-82B1-4119-95CF-72A403C84815}"/>
    </a:ext>
  </a:extLst>
</a:theme>
</file>

<file path=ppt/theme/theme2.xml><?xml version="1.0" encoding="utf-8"?>
<a:theme xmlns:a="http://schemas.openxmlformats.org/drawingml/2006/main" name="1_Office Theme">
  <a:themeElements>
    <a:clrScheme name="ALM_AW_PPT COLORS">
      <a:dk1>
        <a:srgbClr val="6F6F6F"/>
      </a:dk1>
      <a:lt1>
        <a:srgbClr val="FFFFFF"/>
      </a:lt1>
      <a:dk2>
        <a:srgbClr val="FFFFFF"/>
      </a:dk2>
      <a:lt2>
        <a:srgbClr val="FFFFFF"/>
      </a:lt2>
      <a:accent1>
        <a:srgbClr val="002855"/>
      </a:accent1>
      <a:accent2>
        <a:srgbClr val="00F0BE"/>
      </a:accent2>
      <a:accent3>
        <a:srgbClr val="00596E"/>
      </a:accent3>
      <a:accent4>
        <a:srgbClr val="008C93"/>
      </a:accent4>
      <a:accent5>
        <a:srgbClr val="00BEA0"/>
      </a:accent5>
      <a:accent6>
        <a:srgbClr val="8700D3"/>
      </a:accent6>
      <a:hlink>
        <a:srgbClr val="8700D3"/>
      </a:hlink>
      <a:folHlink>
        <a:srgbClr val="8700D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63416f03-a8ab-4d83-bbbb-acc100651cfc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E4F152F5A6A4643A2C50B67B6208B3F" ma:contentTypeVersion="14" ma:contentTypeDescription="Create a new document." ma:contentTypeScope="" ma:versionID="30b5b51b675b46d31af26972d8c2c11d">
  <xsd:schema xmlns:xsd="http://www.w3.org/2001/XMLSchema" xmlns:xs="http://www.w3.org/2001/XMLSchema" xmlns:p="http://schemas.microsoft.com/office/2006/metadata/properties" xmlns:ns3="63416f03-a8ab-4d83-bbbb-acc100651cfc" xmlns:ns4="ae3fc097-e688-43a5-8c01-fb02bef85f7f" targetNamespace="http://schemas.microsoft.com/office/2006/metadata/properties" ma:root="true" ma:fieldsID="6b0a9e43805fcea6319ab684e5b68189" ns3:_="" ns4:_="">
    <xsd:import namespace="63416f03-a8ab-4d83-bbbb-acc100651cfc"/>
    <xsd:import namespace="ae3fc097-e688-43a5-8c01-fb02bef85f7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416f03-a8ab-4d83-bbbb-acc100651cf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2" nillable="true" ma:displayName="_activity" ma:hidden="true" ma:internalName="_activity">
      <xsd:simpleType>
        <xsd:restriction base="dms:Note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ystemTags" ma:index="17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3fc097-e688-43a5-8c01-fb02bef85f7f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BACCFE0-E6F6-467D-834C-72C5F8E4992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472C4C3-6DCD-45AE-AEB4-3F49EA0A2E81}">
  <ds:schemaRefs>
    <ds:schemaRef ds:uri="http://www.w3.org/XML/1998/namespace"/>
    <ds:schemaRef ds:uri="ae3fc097-e688-43a5-8c01-fb02bef85f7f"/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purl.org/dc/dcmitype/"/>
    <ds:schemaRef ds:uri="http://schemas.microsoft.com/office/2006/documentManagement/types"/>
    <ds:schemaRef ds:uri="http://schemas.microsoft.com/office/infopath/2007/PartnerControls"/>
    <ds:schemaRef ds:uri="63416f03-a8ab-4d83-bbbb-acc100651cfc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381BF075-79DB-4200-A66C-D502CC49F33E}">
  <ds:schemaRefs>
    <ds:schemaRef ds:uri="63416f03-a8ab-4d83-bbbb-acc100651cfc"/>
    <ds:schemaRef ds:uri="ae3fc097-e688-43a5-8c01-fb02bef85f7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682</Words>
  <Application>Microsoft Office PowerPoint</Application>
  <PresentationFormat>Panorámica</PresentationFormat>
  <Paragraphs>482</Paragraphs>
  <Slides>36</Slides>
  <Notes>3</Notes>
  <HiddenSlides>2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36</vt:i4>
      </vt:variant>
    </vt:vector>
  </HeadingPairs>
  <TitlesOfParts>
    <vt:vector size="47" baseType="lpstr">
      <vt:lpstr>Akzidenz Grotesk BE Bold</vt:lpstr>
      <vt:lpstr>Aptos</vt:lpstr>
      <vt:lpstr>Arial</vt:lpstr>
      <vt:lpstr>Arial Black</vt:lpstr>
      <vt:lpstr>Calibri</vt:lpstr>
      <vt:lpstr>Roboto</vt:lpstr>
      <vt:lpstr>Wingdings</vt:lpstr>
      <vt:lpstr>Tema1</vt:lpstr>
      <vt:lpstr>1_Office Theme</vt:lpstr>
      <vt:lpstr>think-cell Slide</vt:lpstr>
      <vt:lpstr>Diapositiva de think-cell</vt:lpstr>
      <vt:lpstr>Presentación de PowerPoint</vt:lpstr>
      <vt:lpstr>Declaración de intereses:</vt:lpstr>
      <vt:lpstr>Presentación de PowerPoint</vt:lpstr>
      <vt:lpstr>Agenda:</vt:lpstr>
      <vt:lpstr>Enfermedad cardiovascular y sus consecuencias</vt:lpstr>
      <vt:lpstr>Clasificación de los factores de riesgo cardiovascular</vt:lpstr>
      <vt:lpstr>Presentación de PowerPoint</vt:lpstr>
      <vt:lpstr>Presentación de PowerPoint</vt:lpstr>
      <vt:lpstr>Factores de riesgo cardiovascular y su manejo en raza negra:</vt:lpstr>
      <vt:lpstr>Guía ESC/EAS 2019 sobre el tratamiento de las dislipemias1</vt:lpstr>
      <vt:lpstr>Algoritmo de tratamiento para la reducción farmacológica del cLDL1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Resúmen</vt:lpstr>
      <vt:lpstr>Abreviaturas</vt:lpstr>
      <vt:lpstr>Presentación de PowerPoint</vt:lpstr>
      <vt:lpstr>Presentación de PowerPoint</vt:lpstr>
    </vt:vector>
  </TitlesOfParts>
  <Company>Almira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carena Fernandez-Andrade Marin</dc:creator>
  <cp:lastModifiedBy>Eva Parisi Tria</cp:lastModifiedBy>
  <cp:revision>88</cp:revision>
  <dcterms:created xsi:type="dcterms:W3CDTF">2024-11-05T13:29:37Z</dcterms:created>
  <dcterms:modified xsi:type="dcterms:W3CDTF">2026-01-08T10:52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E4F152F5A6A4643A2C50B67B6208B3F</vt:lpwstr>
  </property>
  <property fmtid="{D5CDD505-2E9C-101B-9397-08002B2CF9AE}" pid="3" name="MSIP_Label_6b6e20c6-cf94-42a2-9862-6e25337ae690_Enabled">
    <vt:lpwstr>true</vt:lpwstr>
  </property>
  <property fmtid="{D5CDD505-2E9C-101B-9397-08002B2CF9AE}" pid="4" name="MSIP_Label_6b6e20c6-cf94-42a2-9862-6e25337ae690_SetDate">
    <vt:lpwstr>2025-02-07T09:28:45Z</vt:lpwstr>
  </property>
  <property fmtid="{D5CDD505-2E9C-101B-9397-08002B2CF9AE}" pid="5" name="MSIP_Label_6b6e20c6-cf94-42a2-9862-6e25337ae690_Method">
    <vt:lpwstr>Privileged</vt:lpwstr>
  </property>
  <property fmtid="{D5CDD505-2E9C-101B-9397-08002B2CF9AE}" pid="6" name="MSIP_Label_6b6e20c6-cf94-42a2-9862-6e25337ae690_Name">
    <vt:lpwstr>Public</vt:lpwstr>
  </property>
  <property fmtid="{D5CDD505-2E9C-101B-9397-08002B2CF9AE}" pid="7" name="MSIP_Label_6b6e20c6-cf94-42a2-9862-6e25337ae690_SiteId">
    <vt:lpwstr>342ace0e-1054-45ce-9b30-900fc0440b9d</vt:lpwstr>
  </property>
  <property fmtid="{D5CDD505-2E9C-101B-9397-08002B2CF9AE}" pid="8" name="MSIP_Label_6b6e20c6-cf94-42a2-9862-6e25337ae690_ActionId">
    <vt:lpwstr>ca8c756a-9061-4aca-a161-31bbdc27f7e1</vt:lpwstr>
  </property>
  <property fmtid="{D5CDD505-2E9C-101B-9397-08002B2CF9AE}" pid="9" name="MSIP_Label_6b6e20c6-cf94-42a2-9862-6e25337ae690_ContentBits">
    <vt:lpwstr>0</vt:lpwstr>
  </property>
</Properties>
</file>